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.xml" ContentType="application/inkml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9"/>
  </p:notesMasterIdLst>
  <p:sldIdLst>
    <p:sldId id="258" r:id="rId2"/>
    <p:sldId id="948" r:id="rId3"/>
    <p:sldId id="578" r:id="rId4"/>
    <p:sldId id="931" r:id="rId5"/>
    <p:sldId id="692" r:id="rId6"/>
    <p:sldId id="583" r:id="rId7"/>
    <p:sldId id="950" r:id="rId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66700" indent="-266700" algn="l" defTabSz="914400" rtl="0" eaLnBrk="1" latinLnBrk="0" hangingPunct="1">
      <a:lnSpc>
        <a:spcPct val="90000"/>
      </a:lnSpc>
      <a:spcBef>
        <a:spcPts val="0"/>
      </a:spcBef>
      <a:spcAft>
        <a:spcPts val="300"/>
      </a:spcAft>
      <a:buFont typeface="Wingdings" pitchFamily="2" charset="2"/>
      <a:buChar char="§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50800" indent="-266400" algn="l" defTabSz="914400" rtl="0" eaLnBrk="1" latinLnBrk="0" hangingPunct="1">
      <a:lnSpc>
        <a:spcPct val="90000"/>
      </a:lnSpc>
      <a:spcBef>
        <a:spcPts val="0"/>
      </a:spcBef>
      <a:spcAft>
        <a:spcPts val="300"/>
      </a:spcAft>
      <a:buFont typeface="System Font Regular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35200" indent="-266400" algn="l" defTabSz="914400" rtl="0" eaLnBrk="1" latinLnBrk="0" hangingPunct="1">
      <a:lnSpc>
        <a:spcPct val="90000"/>
      </a:lnSpc>
      <a:spcBef>
        <a:spcPts val="0"/>
      </a:spcBef>
      <a:spcAft>
        <a:spcPts val="300"/>
      </a:spcAft>
      <a:buFont typeface="System Font Regular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35200" indent="-266400" algn="l" defTabSz="914400" rtl="0" eaLnBrk="1" latinLnBrk="0" hangingPunct="1">
      <a:lnSpc>
        <a:spcPct val="90000"/>
      </a:lnSpc>
      <a:spcBef>
        <a:spcPts val="0"/>
      </a:spcBef>
      <a:spcAft>
        <a:spcPts val="300"/>
      </a:spcAft>
      <a:buFont typeface="System Font Regular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835200" indent="-266400" algn="l" defTabSz="914400" rtl="0" eaLnBrk="1" latinLnBrk="0" hangingPunct="1">
      <a:lnSpc>
        <a:spcPct val="90000"/>
      </a:lnSpc>
      <a:spcBef>
        <a:spcPts val="0"/>
      </a:spcBef>
      <a:spcAft>
        <a:spcPts val="300"/>
      </a:spcAft>
      <a:buFont typeface="System Font Regular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35200" indent="-266400" algn="l" defTabSz="914400" rtl="0" eaLnBrk="1" latinLnBrk="0" hangingPunct="1">
      <a:lnSpc>
        <a:spcPct val="90000"/>
      </a:lnSpc>
      <a:spcBef>
        <a:spcPts val="0"/>
      </a:spcBef>
      <a:spcAft>
        <a:spcPts val="300"/>
      </a:spcAft>
      <a:buFont typeface="System Font Regular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835200" indent="-266400" algn="l" defTabSz="914400" rtl="0" eaLnBrk="1" latinLnBrk="0" hangingPunct="1">
      <a:lnSpc>
        <a:spcPct val="90000"/>
      </a:lnSpc>
      <a:spcBef>
        <a:spcPts val="0"/>
      </a:spcBef>
      <a:spcAft>
        <a:spcPts val="300"/>
      </a:spcAft>
      <a:buFont typeface="System Font Regular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835200" indent="-266400" algn="l" defTabSz="914400" rtl="0" eaLnBrk="1" latinLnBrk="0" hangingPunct="1">
      <a:lnSpc>
        <a:spcPct val="90000"/>
      </a:lnSpc>
      <a:spcBef>
        <a:spcPts val="0"/>
      </a:spcBef>
      <a:spcAft>
        <a:spcPts val="300"/>
      </a:spcAft>
      <a:buFont typeface="System Font Regular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3A6DA28-BB08-4E28-94E8-AB53A02DD50B}">
  <a:tblStyle styleId="{73A6DA28-BB08-4E28-94E8-AB53A02DD50B}" styleName="VEDP Corporate">
    <a:wholeTbl>
      <a:tcTxStyle>
        <a:fontRef idx="minor"/>
        <a:schemeClr val="dk1"/>
      </a:tcTxStyle>
      <a:tcStyle>
        <a:tcBdr>
          <a:left>
            <a:ln w="0" cmpd="sng">
              <a:solidFill>
                <a:prstClr val="white"/>
              </a:solidFill>
            </a:ln>
          </a:left>
          <a:right>
            <a:ln w="0" cmpd="sng">
              <a:solidFill>
                <a:prstClr val="white"/>
              </a:solidFill>
            </a:ln>
          </a:right>
          <a:top>
            <a:ln w="12700" cmpd="sng">
              <a:solidFill>
                <a:prstClr val="black"/>
              </a:solidFill>
            </a:ln>
          </a:top>
          <a:bottom>
            <a:ln w="12700" cmpd="sng">
              <a:solidFill>
                <a:prstClr val="black"/>
              </a:solidFill>
            </a:ln>
          </a:bottom>
          <a:insideH>
            <a:ln w="3175" cmpd="sng">
              <a:solidFill>
                <a:prstClr val="black"/>
              </a:solidFill>
            </a:ln>
          </a:insideH>
          <a:insideV>
            <a:ln w="0" cmpd="sng">
              <a:solidFill>
                <a:prstClr val="white"/>
              </a:solidFill>
            </a:ln>
          </a:insideV>
        </a:tcBdr>
        <a:fill>
          <a:solidFill>
            <a:prstClr val="white"/>
          </a:solidFill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TxStyle b="on">
        <a:fontRef idx="minor"/>
      </a:tcTxStyle>
      <a:tcStyle>
        <a:tcBdr>
          <a:right>
            <a:ln w="3175" cmpd="sng">
              <a:solidFill>
                <a:prstClr val="black"/>
              </a:solidFill>
            </a:ln>
          </a:right>
        </a:tcBdr>
      </a:tcStyle>
    </a:firstCol>
    <a:lastRow>
      <a:tcTxStyle b="on">
        <a:fontRef idx="minor"/>
      </a:tcTxStyle>
      <a:tcStyle>
        <a:tcBdr>
          <a:top>
            <a:ln w="12700" cmpd="sng">
              <a:solidFill>
                <a:prstClr val="black"/>
              </a:solidFill>
            </a:ln>
          </a:top>
          <a:bottom>
            <a:ln w="12700" cmpd="sng">
              <a:solidFill>
                <a:prstClr val="black"/>
              </a:solidFill>
            </a:ln>
          </a:bottom>
          <a:insideV>
            <a:ln w="0" cmpd="sng">
              <a:solidFill>
                <a:prstClr val="white"/>
              </a:solidFill>
            </a:ln>
          </a:insideV>
        </a:tcBdr>
      </a:tcStyle>
    </a:lastRow>
    <a:firstRow>
      <a:tcTxStyle b="on">
        <a:fontRef idx="minor"/>
        <a:schemeClr val="accent1"/>
      </a:tcTxStyle>
      <a:tcStyle>
        <a:tcBdr>
          <a:top>
            <a:ln w="0" cmpd="sng">
              <a:solidFill>
                <a:prstClr val="white"/>
              </a:solidFill>
            </a:ln>
          </a:top>
          <a:bottom>
            <a:ln w="12700" cmpd="sng">
              <a:solidFill>
                <a:prstClr val="black"/>
              </a:solidFill>
            </a:ln>
          </a:bottom>
          <a:insideV>
            <a:ln w="0" cmpd="sng">
              <a:solidFill>
                <a:prstClr val="white"/>
              </a:solidFill>
            </a:ln>
          </a:insideV>
        </a:tcBdr>
        <a:fill>
          <a:solidFill>
            <a:prstClr val="white"/>
          </a:solidFill>
        </a:fill>
      </a:tcStyle>
    </a:firstRow>
  </a:tblStyle>
  <a:tblStyle styleId="{A650C729-9CF1-44C1-B28C-B572622A06A4}" styleName="VEDP Corporate - Shaded Rows">
    <a:wholeTbl>
      <a:tcTxStyle>
        <a:fontRef idx="minor"/>
        <a:schemeClr val="dk1"/>
      </a:tcTxStyle>
      <a:tcStyle>
        <a:tcBdr>
          <a:left>
            <a:ln w="0" cmpd="sng">
              <a:solidFill>
                <a:prstClr val="white"/>
              </a:solidFill>
            </a:ln>
          </a:left>
          <a:right>
            <a:ln w="0" cmpd="sng">
              <a:solidFill>
                <a:prstClr val="white"/>
              </a:solidFill>
            </a:ln>
          </a:right>
          <a:top>
            <a:ln w="12700" cmpd="sng">
              <a:solidFill>
                <a:prstClr val="black"/>
              </a:solidFill>
            </a:ln>
          </a:top>
          <a:bottom>
            <a:ln w="12700" cmpd="sng">
              <a:solidFill>
                <a:prstClr val="black"/>
              </a:solidFill>
            </a:ln>
          </a:bottom>
          <a:insideH>
            <a:ln w="0" cmpd="sng">
              <a:solidFill>
                <a:prstClr val="white"/>
              </a:solidFill>
            </a:ln>
          </a:insideH>
          <a:insideV>
            <a:ln w="0" cmpd="sng">
              <a:solidFill>
                <a:prstClr val="white"/>
              </a:solidFill>
            </a:ln>
          </a:insideV>
        </a:tcBdr>
        <a:fill>
          <a:solidFill>
            <a:prstClr val="white"/>
          </a:solidFill>
        </a:fill>
      </a:tcStyle>
    </a:wholeTbl>
    <a:band1H>
      <a:tcStyle>
        <a:tcBdr/>
        <a:fill>
          <a:solidFill>
            <a:prstClr val="white"/>
          </a:solidFill>
        </a:fill>
      </a:tcStyle>
    </a:band1H>
    <a:band2H>
      <a:tcStyle>
        <a:tcBdr/>
        <a:fill>
          <a:solidFill>
            <a:srgbClr val="E1E1E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TxStyle b="on">
        <a:fontRef idx="minor"/>
        <a:schemeClr val="accent1"/>
      </a:tcTxStyle>
      <a:tcStyle>
        <a:tcBdr>
          <a:right>
            <a:ln w="3175" cmpd="sng">
              <a:solidFill>
                <a:prstClr val="black"/>
              </a:solidFill>
            </a:ln>
          </a:right>
        </a:tcBdr>
      </a:tcStyle>
    </a:firstCol>
    <a:lastRow>
      <a:tcTxStyle b="on">
        <a:fontRef idx="minor"/>
      </a:tcTxStyle>
      <a:tcStyle>
        <a:tcBdr>
          <a:top>
            <a:ln w="12700" cmpd="sng">
              <a:solidFill>
                <a:prstClr val="black"/>
              </a:solidFill>
            </a:ln>
          </a:top>
          <a:bottom>
            <a:ln w="12700" cmpd="sng">
              <a:solidFill>
                <a:prstClr val="black"/>
              </a:solidFill>
            </a:ln>
          </a:bottom>
          <a:insideV>
            <a:ln w="0" cmpd="sng">
              <a:solidFill>
                <a:prstClr val="white"/>
              </a:solidFill>
            </a:ln>
          </a:insideV>
        </a:tcBdr>
      </a:tcStyle>
    </a:lastRow>
    <a:firstRow>
      <a:tcTxStyle b="on">
        <a:fontRef idx="minor"/>
        <a:schemeClr val="accent1"/>
      </a:tcTxStyle>
      <a:tcStyle>
        <a:tcBdr>
          <a:top>
            <a:ln w="0" cmpd="sng">
              <a:solidFill>
                <a:prstClr val="white"/>
              </a:solidFill>
            </a:ln>
          </a:top>
          <a:bottom>
            <a:ln w="12700" cmpd="sng">
              <a:solidFill>
                <a:prstClr val="black"/>
              </a:solidFill>
            </a:ln>
          </a:bottom>
          <a:insideV>
            <a:ln w="0" cmpd="sng">
              <a:solidFill>
                <a:prstClr val="white"/>
              </a:solidFill>
            </a:ln>
          </a:insideV>
        </a:tcBdr>
        <a:fill>
          <a:solidFill>
            <a:prstClr val="white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92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17497270385823"/>
          <c:y val="8.7954261075872231E-2"/>
          <c:w val="0.87304968999861843"/>
          <c:h val="0.8062157955651371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3</c:f>
              <c:numCache>
                <c:formatCode>m/d/yyyy</c:formatCode>
                <c:ptCount val="132"/>
                <c:pt idx="0">
                  <c:v>42035</c:v>
                </c:pt>
                <c:pt idx="1">
                  <c:v>42063</c:v>
                </c:pt>
                <c:pt idx="2">
                  <c:v>42094</c:v>
                </c:pt>
                <c:pt idx="3">
                  <c:v>42124</c:v>
                </c:pt>
                <c:pt idx="4">
                  <c:v>42155</c:v>
                </c:pt>
                <c:pt idx="5">
                  <c:v>42185</c:v>
                </c:pt>
                <c:pt idx="6">
                  <c:v>42216</c:v>
                </c:pt>
                <c:pt idx="7">
                  <c:v>42247</c:v>
                </c:pt>
                <c:pt idx="8">
                  <c:v>42277</c:v>
                </c:pt>
                <c:pt idx="9">
                  <c:v>42308</c:v>
                </c:pt>
                <c:pt idx="10">
                  <c:v>42338</c:v>
                </c:pt>
                <c:pt idx="11">
                  <c:v>42369</c:v>
                </c:pt>
                <c:pt idx="12">
                  <c:v>42400</c:v>
                </c:pt>
                <c:pt idx="13">
                  <c:v>42429</c:v>
                </c:pt>
                <c:pt idx="14">
                  <c:v>42460</c:v>
                </c:pt>
                <c:pt idx="15">
                  <c:v>42490</c:v>
                </c:pt>
                <c:pt idx="16">
                  <c:v>42521</c:v>
                </c:pt>
                <c:pt idx="17">
                  <c:v>42551</c:v>
                </c:pt>
                <c:pt idx="18">
                  <c:v>42582</c:v>
                </c:pt>
                <c:pt idx="19">
                  <c:v>42613</c:v>
                </c:pt>
                <c:pt idx="20">
                  <c:v>42643</c:v>
                </c:pt>
                <c:pt idx="21">
                  <c:v>42674</c:v>
                </c:pt>
                <c:pt idx="22">
                  <c:v>42704</c:v>
                </c:pt>
                <c:pt idx="23">
                  <c:v>42735</c:v>
                </c:pt>
                <c:pt idx="24">
                  <c:v>42766</c:v>
                </c:pt>
                <c:pt idx="25">
                  <c:v>42794</c:v>
                </c:pt>
                <c:pt idx="26">
                  <c:v>42825</c:v>
                </c:pt>
                <c:pt idx="27">
                  <c:v>42855</c:v>
                </c:pt>
                <c:pt idx="28">
                  <c:v>42886</c:v>
                </c:pt>
                <c:pt idx="29">
                  <c:v>42916</c:v>
                </c:pt>
                <c:pt idx="30">
                  <c:v>42947</c:v>
                </c:pt>
                <c:pt idx="31">
                  <c:v>42978</c:v>
                </c:pt>
                <c:pt idx="32">
                  <c:v>43008</c:v>
                </c:pt>
                <c:pt idx="33">
                  <c:v>43039</c:v>
                </c:pt>
                <c:pt idx="34">
                  <c:v>43069</c:v>
                </c:pt>
                <c:pt idx="35">
                  <c:v>43100</c:v>
                </c:pt>
                <c:pt idx="36">
                  <c:v>43131</c:v>
                </c:pt>
                <c:pt idx="37">
                  <c:v>43159</c:v>
                </c:pt>
                <c:pt idx="38">
                  <c:v>43190</c:v>
                </c:pt>
                <c:pt idx="39">
                  <c:v>43220</c:v>
                </c:pt>
                <c:pt idx="40">
                  <c:v>43251</c:v>
                </c:pt>
                <c:pt idx="41">
                  <c:v>43281</c:v>
                </c:pt>
                <c:pt idx="42">
                  <c:v>43312</c:v>
                </c:pt>
                <c:pt idx="43">
                  <c:v>43343</c:v>
                </c:pt>
                <c:pt idx="44">
                  <c:v>43373</c:v>
                </c:pt>
                <c:pt idx="45">
                  <c:v>43404</c:v>
                </c:pt>
                <c:pt idx="46">
                  <c:v>43434</c:v>
                </c:pt>
                <c:pt idx="47">
                  <c:v>43465</c:v>
                </c:pt>
                <c:pt idx="48">
                  <c:v>43496</c:v>
                </c:pt>
                <c:pt idx="49">
                  <c:v>43524</c:v>
                </c:pt>
                <c:pt idx="50">
                  <c:v>43555</c:v>
                </c:pt>
                <c:pt idx="51">
                  <c:v>43585</c:v>
                </c:pt>
                <c:pt idx="52">
                  <c:v>43616</c:v>
                </c:pt>
                <c:pt idx="53">
                  <c:v>43646</c:v>
                </c:pt>
                <c:pt idx="54">
                  <c:v>43677</c:v>
                </c:pt>
                <c:pt idx="55">
                  <c:v>43708</c:v>
                </c:pt>
                <c:pt idx="56">
                  <c:v>43738</c:v>
                </c:pt>
                <c:pt idx="57">
                  <c:v>43769</c:v>
                </c:pt>
                <c:pt idx="58">
                  <c:v>43799</c:v>
                </c:pt>
                <c:pt idx="59">
                  <c:v>43830</c:v>
                </c:pt>
                <c:pt idx="60">
                  <c:v>43861</c:v>
                </c:pt>
                <c:pt idx="61">
                  <c:v>43890</c:v>
                </c:pt>
                <c:pt idx="62">
                  <c:v>43921</c:v>
                </c:pt>
                <c:pt idx="63">
                  <c:v>43951</c:v>
                </c:pt>
                <c:pt idx="64">
                  <c:v>43982</c:v>
                </c:pt>
                <c:pt idx="65">
                  <c:v>44012</c:v>
                </c:pt>
                <c:pt idx="66">
                  <c:v>44043</c:v>
                </c:pt>
                <c:pt idx="67">
                  <c:v>44074</c:v>
                </c:pt>
                <c:pt idx="68">
                  <c:v>44104</c:v>
                </c:pt>
                <c:pt idx="69">
                  <c:v>44135</c:v>
                </c:pt>
                <c:pt idx="70">
                  <c:v>44165</c:v>
                </c:pt>
                <c:pt idx="71">
                  <c:v>44196</c:v>
                </c:pt>
                <c:pt idx="72">
                  <c:v>44227</c:v>
                </c:pt>
                <c:pt idx="73">
                  <c:v>44255</c:v>
                </c:pt>
                <c:pt idx="74">
                  <c:v>44286</c:v>
                </c:pt>
                <c:pt idx="75">
                  <c:v>44316</c:v>
                </c:pt>
                <c:pt idx="76">
                  <c:v>44347</c:v>
                </c:pt>
                <c:pt idx="77">
                  <c:v>44377</c:v>
                </c:pt>
                <c:pt idx="78">
                  <c:v>44408</c:v>
                </c:pt>
                <c:pt idx="79">
                  <c:v>44439</c:v>
                </c:pt>
                <c:pt idx="80">
                  <c:v>44469</c:v>
                </c:pt>
                <c:pt idx="81">
                  <c:v>44500</c:v>
                </c:pt>
                <c:pt idx="82">
                  <c:v>44530</c:v>
                </c:pt>
                <c:pt idx="83">
                  <c:v>44561</c:v>
                </c:pt>
                <c:pt idx="84">
                  <c:v>44592</c:v>
                </c:pt>
                <c:pt idx="85">
                  <c:v>44620</c:v>
                </c:pt>
                <c:pt idx="86">
                  <c:v>44651</c:v>
                </c:pt>
                <c:pt idx="87">
                  <c:v>44681</c:v>
                </c:pt>
                <c:pt idx="88">
                  <c:v>44712</c:v>
                </c:pt>
                <c:pt idx="89">
                  <c:v>44742</c:v>
                </c:pt>
                <c:pt idx="90">
                  <c:v>44773</c:v>
                </c:pt>
                <c:pt idx="91">
                  <c:v>44804</c:v>
                </c:pt>
                <c:pt idx="92">
                  <c:v>44834</c:v>
                </c:pt>
                <c:pt idx="93">
                  <c:v>44865</c:v>
                </c:pt>
                <c:pt idx="94">
                  <c:v>44895</c:v>
                </c:pt>
                <c:pt idx="95">
                  <c:v>44926</c:v>
                </c:pt>
                <c:pt idx="96">
                  <c:v>44957</c:v>
                </c:pt>
                <c:pt idx="97">
                  <c:v>44985</c:v>
                </c:pt>
                <c:pt idx="98">
                  <c:v>45016</c:v>
                </c:pt>
                <c:pt idx="99">
                  <c:v>45046</c:v>
                </c:pt>
                <c:pt idx="100">
                  <c:v>45077</c:v>
                </c:pt>
                <c:pt idx="101">
                  <c:v>45107</c:v>
                </c:pt>
                <c:pt idx="102">
                  <c:v>45138</c:v>
                </c:pt>
                <c:pt idx="103">
                  <c:v>45169</c:v>
                </c:pt>
                <c:pt idx="104">
                  <c:v>45199</c:v>
                </c:pt>
                <c:pt idx="105">
                  <c:v>45230</c:v>
                </c:pt>
                <c:pt idx="106">
                  <c:v>45260</c:v>
                </c:pt>
                <c:pt idx="107">
                  <c:v>45291</c:v>
                </c:pt>
                <c:pt idx="108">
                  <c:v>45322</c:v>
                </c:pt>
                <c:pt idx="109">
                  <c:v>45351</c:v>
                </c:pt>
                <c:pt idx="110">
                  <c:v>45382</c:v>
                </c:pt>
                <c:pt idx="111">
                  <c:v>45412</c:v>
                </c:pt>
                <c:pt idx="112">
                  <c:v>45443</c:v>
                </c:pt>
                <c:pt idx="113">
                  <c:v>45473</c:v>
                </c:pt>
                <c:pt idx="114">
                  <c:v>45504</c:v>
                </c:pt>
                <c:pt idx="115">
                  <c:v>45535</c:v>
                </c:pt>
                <c:pt idx="116">
                  <c:v>45565</c:v>
                </c:pt>
                <c:pt idx="117">
                  <c:v>45596</c:v>
                </c:pt>
                <c:pt idx="118">
                  <c:v>45626</c:v>
                </c:pt>
                <c:pt idx="119">
                  <c:v>45657</c:v>
                </c:pt>
                <c:pt idx="120">
                  <c:v>45688</c:v>
                </c:pt>
                <c:pt idx="121">
                  <c:v>45716</c:v>
                </c:pt>
                <c:pt idx="122">
                  <c:v>45747</c:v>
                </c:pt>
                <c:pt idx="123">
                  <c:v>45777</c:v>
                </c:pt>
                <c:pt idx="124">
                  <c:v>45808</c:v>
                </c:pt>
                <c:pt idx="125">
                  <c:v>45838</c:v>
                </c:pt>
                <c:pt idx="126">
                  <c:v>45869</c:v>
                </c:pt>
                <c:pt idx="127">
                  <c:v>45900</c:v>
                </c:pt>
                <c:pt idx="128">
                  <c:v>45930</c:v>
                </c:pt>
                <c:pt idx="129">
                  <c:v>45961</c:v>
                </c:pt>
                <c:pt idx="130">
                  <c:v>45991</c:v>
                </c:pt>
                <c:pt idx="131">
                  <c:v>46022</c:v>
                </c:pt>
              </c:numCache>
            </c:numRef>
          </c:cat>
          <c:val>
            <c:numRef>
              <c:f>Sheet1!$B$2:$B$133</c:f>
              <c:numCache>
                <c:formatCode>General</c:formatCode>
                <c:ptCount val="132"/>
                <c:pt idx="0">
                  <c:v>3812.6</c:v>
                </c:pt>
                <c:pt idx="1">
                  <c:v>3816.9</c:v>
                </c:pt>
                <c:pt idx="2">
                  <c:v>3808.4</c:v>
                </c:pt>
                <c:pt idx="3">
                  <c:v>3828</c:v>
                </c:pt>
                <c:pt idx="4">
                  <c:v>3845.3</c:v>
                </c:pt>
                <c:pt idx="5">
                  <c:v>3850.7</c:v>
                </c:pt>
                <c:pt idx="6">
                  <c:v>3869.7</c:v>
                </c:pt>
                <c:pt idx="7">
                  <c:v>3877.9</c:v>
                </c:pt>
                <c:pt idx="8">
                  <c:v>3885.5</c:v>
                </c:pt>
                <c:pt idx="9">
                  <c:v>3897.2</c:v>
                </c:pt>
                <c:pt idx="10">
                  <c:v>3902</c:v>
                </c:pt>
                <c:pt idx="11">
                  <c:v>3907.4</c:v>
                </c:pt>
                <c:pt idx="12" formatCode="#0.0">
                  <c:v>3891.3</c:v>
                </c:pt>
                <c:pt idx="13" formatCode="#0.0">
                  <c:v>3901</c:v>
                </c:pt>
                <c:pt idx="14" formatCode="#0.0">
                  <c:v>3905.4</c:v>
                </c:pt>
                <c:pt idx="15" formatCode="#0.0">
                  <c:v>3904.5</c:v>
                </c:pt>
                <c:pt idx="16" formatCode="#0.0">
                  <c:v>3903.5</c:v>
                </c:pt>
                <c:pt idx="17" formatCode="#0.0">
                  <c:v>3908</c:v>
                </c:pt>
                <c:pt idx="18" formatCode="#0.0">
                  <c:v>3912.4</c:v>
                </c:pt>
                <c:pt idx="19" formatCode="#0.0">
                  <c:v>3921.1</c:v>
                </c:pt>
                <c:pt idx="20" formatCode="#0.0">
                  <c:v>3926.5</c:v>
                </c:pt>
                <c:pt idx="21" formatCode="#0.0">
                  <c:v>3930.3</c:v>
                </c:pt>
                <c:pt idx="22" formatCode="#0.0">
                  <c:v>3935.3</c:v>
                </c:pt>
                <c:pt idx="23" formatCode="#0.0">
                  <c:v>3938.2</c:v>
                </c:pt>
                <c:pt idx="24" formatCode="#0.0">
                  <c:v>3938.6</c:v>
                </c:pt>
                <c:pt idx="25" formatCode="#0.0">
                  <c:v>3946</c:v>
                </c:pt>
                <c:pt idx="26" formatCode="#0.0">
                  <c:v>3948.9</c:v>
                </c:pt>
                <c:pt idx="27" formatCode="#0.0">
                  <c:v>3949.2</c:v>
                </c:pt>
                <c:pt idx="28" formatCode="#0.0">
                  <c:v>3949.9</c:v>
                </c:pt>
                <c:pt idx="29" formatCode="#0.0">
                  <c:v>3958.5</c:v>
                </c:pt>
                <c:pt idx="30" formatCode="#0.0">
                  <c:v>3959.4</c:v>
                </c:pt>
                <c:pt idx="31" formatCode="#0.0">
                  <c:v>3962</c:v>
                </c:pt>
                <c:pt idx="32" formatCode="#0.0">
                  <c:v>3966.3</c:v>
                </c:pt>
                <c:pt idx="33" formatCode="#0.0">
                  <c:v>3972.9</c:v>
                </c:pt>
                <c:pt idx="34" formatCode="#0.0">
                  <c:v>3971.3</c:v>
                </c:pt>
                <c:pt idx="35" formatCode="#0.0">
                  <c:v>3981.2</c:v>
                </c:pt>
                <c:pt idx="36">
                  <c:v>3990.2</c:v>
                </c:pt>
                <c:pt idx="37">
                  <c:v>3995.9</c:v>
                </c:pt>
                <c:pt idx="38">
                  <c:v>4001.2</c:v>
                </c:pt>
                <c:pt idx="39">
                  <c:v>4001.1</c:v>
                </c:pt>
                <c:pt idx="40">
                  <c:v>4004.3</c:v>
                </c:pt>
                <c:pt idx="41">
                  <c:v>4010.5</c:v>
                </c:pt>
                <c:pt idx="42">
                  <c:v>4014.4</c:v>
                </c:pt>
                <c:pt idx="43">
                  <c:v>4014.9</c:v>
                </c:pt>
                <c:pt idx="44">
                  <c:v>4015.7</c:v>
                </c:pt>
                <c:pt idx="45">
                  <c:v>4024.4</c:v>
                </c:pt>
                <c:pt idx="46">
                  <c:v>4030</c:v>
                </c:pt>
                <c:pt idx="47">
                  <c:v>4027.9</c:v>
                </c:pt>
                <c:pt idx="48">
                  <c:v>4042</c:v>
                </c:pt>
                <c:pt idx="49">
                  <c:v>4043.4</c:v>
                </c:pt>
                <c:pt idx="50">
                  <c:v>4048.6</c:v>
                </c:pt>
                <c:pt idx="51">
                  <c:v>4049.2</c:v>
                </c:pt>
                <c:pt idx="52">
                  <c:v>4049.7</c:v>
                </c:pt>
                <c:pt idx="53">
                  <c:v>4056.9</c:v>
                </c:pt>
                <c:pt idx="54">
                  <c:v>4059.1</c:v>
                </c:pt>
                <c:pt idx="55">
                  <c:v>4062.8</c:v>
                </c:pt>
                <c:pt idx="56">
                  <c:v>4064.2</c:v>
                </c:pt>
                <c:pt idx="57">
                  <c:v>4063.6</c:v>
                </c:pt>
                <c:pt idx="58">
                  <c:v>4063.7</c:v>
                </c:pt>
                <c:pt idx="59">
                  <c:v>4064.2</c:v>
                </c:pt>
                <c:pt idx="60">
                  <c:v>4063.9</c:v>
                </c:pt>
                <c:pt idx="61">
                  <c:v>40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92B-4531-96ED-A902DFA85A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-C19 forecast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33</c:f>
              <c:numCache>
                <c:formatCode>m/d/yyyy</c:formatCode>
                <c:ptCount val="132"/>
                <c:pt idx="0">
                  <c:v>42035</c:v>
                </c:pt>
                <c:pt idx="1">
                  <c:v>42063</c:v>
                </c:pt>
                <c:pt idx="2">
                  <c:v>42094</c:v>
                </c:pt>
                <c:pt idx="3">
                  <c:v>42124</c:v>
                </c:pt>
                <c:pt idx="4">
                  <c:v>42155</c:v>
                </c:pt>
                <c:pt idx="5">
                  <c:v>42185</c:v>
                </c:pt>
                <c:pt idx="6">
                  <c:v>42216</c:v>
                </c:pt>
                <c:pt idx="7">
                  <c:v>42247</c:v>
                </c:pt>
                <c:pt idx="8">
                  <c:v>42277</c:v>
                </c:pt>
                <c:pt idx="9">
                  <c:v>42308</c:v>
                </c:pt>
                <c:pt idx="10">
                  <c:v>42338</c:v>
                </c:pt>
                <c:pt idx="11">
                  <c:v>42369</c:v>
                </c:pt>
                <c:pt idx="12">
                  <c:v>42400</c:v>
                </c:pt>
                <c:pt idx="13">
                  <c:v>42429</c:v>
                </c:pt>
                <c:pt idx="14">
                  <c:v>42460</c:v>
                </c:pt>
                <c:pt idx="15">
                  <c:v>42490</c:v>
                </c:pt>
                <c:pt idx="16">
                  <c:v>42521</c:v>
                </c:pt>
                <c:pt idx="17">
                  <c:v>42551</c:v>
                </c:pt>
                <c:pt idx="18">
                  <c:v>42582</c:v>
                </c:pt>
                <c:pt idx="19">
                  <c:v>42613</c:v>
                </c:pt>
                <c:pt idx="20">
                  <c:v>42643</c:v>
                </c:pt>
                <c:pt idx="21">
                  <c:v>42674</c:v>
                </c:pt>
                <c:pt idx="22">
                  <c:v>42704</c:v>
                </c:pt>
                <c:pt idx="23">
                  <c:v>42735</c:v>
                </c:pt>
                <c:pt idx="24">
                  <c:v>42766</c:v>
                </c:pt>
                <c:pt idx="25">
                  <c:v>42794</c:v>
                </c:pt>
                <c:pt idx="26">
                  <c:v>42825</c:v>
                </c:pt>
                <c:pt idx="27">
                  <c:v>42855</c:v>
                </c:pt>
                <c:pt idx="28">
                  <c:v>42886</c:v>
                </c:pt>
                <c:pt idx="29">
                  <c:v>42916</c:v>
                </c:pt>
                <c:pt idx="30">
                  <c:v>42947</c:v>
                </c:pt>
                <c:pt idx="31">
                  <c:v>42978</c:v>
                </c:pt>
                <c:pt idx="32">
                  <c:v>43008</c:v>
                </c:pt>
                <c:pt idx="33">
                  <c:v>43039</c:v>
                </c:pt>
                <c:pt idx="34">
                  <c:v>43069</c:v>
                </c:pt>
                <c:pt idx="35">
                  <c:v>43100</c:v>
                </c:pt>
                <c:pt idx="36">
                  <c:v>43131</c:v>
                </c:pt>
                <c:pt idx="37">
                  <c:v>43159</c:v>
                </c:pt>
                <c:pt idx="38">
                  <c:v>43190</c:v>
                </c:pt>
                <c:pt idx="39">
                  <c:v>43220</c:v>
                </c:pt>
                <c:pt idx="40">
                  <c:v>43251</c:v>
                </c:pt>
                <c:pt idx="41">
                  <c:v>43281</c:v>
                </c:pt>
                <c:pt idx="42">
                  <c:v>43312</c:v>
                </c:pt>
                <c:pt idx="43">
                  <c:v>43343</c:v>
                </c:pt>
                <c:pt idx="44">
                  <c:v>43373</c:v>
                </c:pt>
                <c:pt idx="45">
                  <c:v>43404</c:v>
                </c:pt>
                <c:pt idx="46">
                  <c:v>43434</c:v>
                </c:pt>
                <c:pt idx="47">
                  <c:v>43465</c:v>
                </c:pt>
                <c:pt idx="48">
                  <c:v>43496</c:v>
                </c:pt>
                <c:pt idx="49">
                  <c:v>43524</c:v>
                </c:pt>
                <c:pt idx="50">
                  <c:v>43555</c:v>
                </c:pt>
                <c:pt idx="51">
                  <c:v>43585</c:v>
                </c:pt>
                <c:pt idx="52">
                  <c:v>43616</c:v>
                </c:pt>
                <c:pt idx="53">
                  <c:v>43646</c:v>
                </c:pt>
                <c:pt idx="54">
                  <c:v>43677</c:v>
                </c:pt>
                <c:pt idx="55">
                  <c:v>43708</c:v>
                </c:pt>
                <c:pt idx="56">
                  <c:v>43738</c:v>
                </c:pt>
                <c:pt idx="57">
                  <c:v>43769</c:v>
                </c:pt>
                <c:pt idx="58">
                  <c:v>43799</c:v>
                </c:pt>
                <c:pt idx="59">
                  <c:v>43830</c:v>
                </c:pt>
                <c:pt idx="60">
                  <c:v>43861</c:v>
                </c:pt>
                <c:pt idx="61">
                  <c:v>43890</c:v>
                </c:pt>
                <c:pt idx="62">
                  <c:v>43921</c:v>
                </c:pt>
                <c:pt idx="63">
                  <c:v>43951</c:v>
                </c:pt>
                <c:pt idx="64">
                  <c:v>43982</c:v>
                </c:pt>
                <c:pt idx="65">
                  <c:v>44012</c:v>
                </c:pt>
                <c:pt idx="66">
                  <c:v>44043</c:v>
                </c:pt>
                <c:pt idx="67">
                  <c:v>44074</c:v>
                </c:pt>
                <c:pt idx="68">
                  <c:v>44104</c:v>
                </c:pt>
                <c:pt idx="69">
                  <c:v>44135</c:v>
                </c:pt>
                <c:pt idx="70">
                  <c:v>44165</c:v>
                </c:pt>
                <c:pt idx="71">
                  <c:v>44196</c:v>
                </c:pt>
                <c:pt idx="72">
                  <c:v>44227</c:v>
                </c:pt>
                <c:pt idx="73">
                  <c:v>44255</c:v>
                </c:pt>
                <c:pt idx="74">
                  <c:v>44286</c:v>
                </c:pt>
                <c:pt idx="75">
                  <c:v>44316</c:v>
                </c:pt>
                <c:pt idx="76">
                  <c:v>44347</c:v>
                </c:pt>
                <c:pt idx="77">
                  <c:v>44377</c:v>
                </c:pt>
                <c:pt idx="78">
                  <c:v>44408</c:v>
                </c:pt>
                <c:pt idx="79">
                  <c:v>44439</c:v>
                </c:pt>
                <c:pt idx="80">
                  <c:v>44469</c:v>
                </c:pt>
                <c:pt idx="81">
                  <c:v>44500</c:v>
                </c:pt>
                <c:pt idx="82">
                  <c:v>44530</c:v>
                </c:pt>
                <c:pt idx="83">
                  <c:v>44561</c:v>
                </c:pt>
                <c:pt idx="84">
                  <c:v>44592</c:v>
                </c:pt>
                <c:pt idx="85">
                  <c:v>44620</c:v>
                </c:pt>
                <c:pt idx="86">
                  <c:v>44651</c:v>
                </c:pt>
                <c:pt idx="87">
                  <c:v>44681</c:v>
                </c:pt>
                <c:pt idx="88">
                  <c:v>44712</c:v>
                </c:pt>
                <c:pt idx="89">
                  <c:v>44742</c:v>
                </c:pt>
                <c:pt idx="90">
                  <c:v>44773</c:v>
                </c:pt>
                <c:pt idx="91">
                  <c:v>44804</c:v>
                </c:pt>
                <c:pt idx="92">
                  <c:v>44834</c:v>
                </c:pt>
                <c:pt idx="93">
                  <c:v>44865</c:v>
                </c:pt>
                <c:pt idx="94">
                  <c:v>44895</c:v>
                </c:pt>
                <c:pt idx="95">
                  <c:v>44926</c:v>
                </c:pt>
                <c:pt idx="96">
                  <c:v>44957</c:v>
                </c:pt>
                <c:pt idx="97">
                  <c:v>44985</c:v>
                </c:pt>
                <c:pt idx="98">
                  <c:v>45016</c:v>
                </c:pt>
                <c:pt idx="99">
                  <c:v>45046</c:v>
                </c:pt>
                <c:pt idx="100">
                  <c:v>45077</c:v>
                </c:pt>
                <c:pt idx="101">
                  <c:v>45107</c:v>
                </c:pt>
                <c:pt idx="102">
                  <c:v>45138</c:v>
                </c:pt>
                <c:pt idx="103">
                  <c:v>45169</c:v>
                </c:pt>
                <c:pt idx="104">
                  <c:v>45199</c:v>
                </c:pt>
                <c:pt idx="105">
                  <c:v>45230</c:v>
                </c:pt>
                <c:pt idx="106">
                  <c:v>45260</c:v>
                </c:pt>
                <c:pt idx="107">
                  <c:v>45291</c:v>
                </c:pt>
                <c:pt idx="108">
                  <c:v>45322</c:v>
                </c:pt>
                <c:pt idx="109">
                  <c:v>45351</c:v>
                </c:pt>
                <c:pt idx="110">
                  <c:v>45382</c:v>
                </c:pt>
                <c:pt idx="111">
                  <c:v>45412</c:v>
                </c:pt>
                <c:pt idx="112">
                  <c:v>45443</c:v>
                </c:pt>
                <c:pt idx="113">
                  <c:v>45473</c:v>
                </c:pt>
                <c:pt idx="114">
                  <c:v>45504</c:v>
                </c:pt>
                <c:pt idx="115">
                  <c:v>45535</c:v>
                </c:pt>
                <c:pt idx="116">
                  <c:v>45565</c:v>
                </c:pt>
                <c:pt idx="117">
                  <c:v>45596</c:v>
                </c:pt>
                <c:pt idx="118">
                  <c:v>45626</c:v>
                </c:pt>
                <c:pt idx="119">
                  <c:v>45657</c:v>
                </c:pt>
                <c:pt idx="120">
                  <c:v>45688</c:v>
                </c:pt>
                <c:pt idx="121">
                  <c:v>45716</c:v>
                </c:pt>
                <c:pt idx="122">
                  <c:v>45747</c:v>
                </c:pt>
                <c:pt idx="123">
                  <c:v>45777</c:v>
                </c:pt>
                <c:pt idx="124">
                  <c:v>45808</c:v>
                </c:pt>
                <c:pt idx="125">
                  <c:v>45838</c:v>
                </c:pt>
                <c:pt idx="126">
                  <c:v>45869</c:v>
                </c:pt>
                <c:pt idx="127">
                  <c:v>45900</c:v>
                </c:pt>
                <c:pt idx="128">
                  <c:v>45930</c:v>
                </c:pt>
                <c:pt idx="129">
                  <c:v>45961</c:v>
                </c:pt>
                <c:pt idx="130">
                  <c:v>45991</c:v>
                </c:pt>
                <c:pt idx="131">
                  <c:v>46022</c:v>
                </c:pt>
              </c:numCache>
            </c:numRef>
          </c:cat>
          <c:val>
            <c:numRef>
              <c:f>Sheet1!$C$2:$C$133</c:f>
              <c:numCache>
                <c:formatCode>General</c:formatCode>
                <c:ptCount val="132"/>
                <c:pt idx="61">
                  <c:v>4065</c:v>
                </c:pt>
                <c:pt idx="62" formatCode="#,##0.00">
                  <c:v>4062.54</c:v>
                </c:pt>
                <c:pt idx="63" formatCode="#,##0.00">
                  <c:v>4068.73</c:v>
                </c:pt>
                <c:pt idx="64" formatCode="#,##0.00">
                  <c:v>4072.73</c:v>
                </c:pt>
                <c:pt idx="65" formatCode="#,##0.00">
                  <c:v>4072.98</c:v>
                </c:pt>
                <c:pt idx="66" formatCode="#,##0.00">
                  <c:v>4070.96</c:v>
                </c:pt>
                <c:pt idx="67" formatCode="#,##0.00">
                  <c:v>4069.24</c:v>
                </c:pt>
                <c:pt idx="68" formatCode="#,##0.00">
                  <c:v>4069.53</c:v>
                </c:pt>
                <c:pt idx="69" formatCode="#,##0.00">
                  <c:v>4070.68</c:v>
                </c:pt>
                <c:pt idx="70" formatCode="#,##0.00">
                  <c:v>4070.72</c:v>
                </c:pt>
                <c:pt idx="71" formatCode="#,##0.00">
                  <c:v>4068.37</c:v>
                </c:pt>
                <c:pt idx="72" formatCode="#,##0.00">
                  <c:v>4064.51</c:v>
                </c:pt>
                <c:pt idx="73" formatCode="#,##0.00">
                  <c:v>4061.01</c:v>
                </c:pt>
                <c:pt idx="74" formatCode="#,##0.00">
                  <c:v>4058.86</c:v>
                </c:pt>
                <c:pt idx="75" formatCode="#,##0.00">
                  <c:v>4058.09</c:v>
                </c:pt>
                <c:pt idx="76" formatCode="#,##0.00">
                  <c:v>4058.51</c:v>
                </c:pt>
                <c:pt idx="77" formatCode="#,##0.00">
                  <c:v>4059.8</c:v>
                </c:pt>
                <c:pt idx="78" formatCode="#,##0.00">
                  <c:v>4061.82</c:v>
                </c:pt>
                <c:pt idx="79" formatCode="#,##0.00">
                  <c:v>4064.47</c:v>
                </c:pt>
                <c:pt idx="80" formatCode="#,##0.00">
                  <c:v>4067.55</c:v>
                </c:pt>
                <c:pt idx="81" formatCode="#,##0.00">
                  <c:v>4071.05</c:v>
                </c:pt>
                <c:pt idx="82" formatCode="#,##0.00">
                  <c:v>4074.9</c:v>
                </c:pt>
                <c:pt idx="83" formatCode="#,##0.00">
                  <c:v>4079.06</c:v>
                </c:pt>
                <c:pt idx="84" formatCode="#,##0.00">
                  <c:v>4083.55</c:v>
                </c:pt>
                <c:pt idx="85" formatCode="#,##0.00">
                  <c:v>4087.98</c:v>
                </c:pt>
                <c:pt idx="86" formatCode="#,##0.00">
                  <c:v>4092.5</c:v>
                </c:pt>
                <c:pt idx="87" formatCode="#,##0.00">
                  <c:v>4097.12</c:v>
                </c:pt>
                <c:pt idx="88" formatCode="#,##0.00">
                  <c:v>4101.5</c:v>
                </c:pt>
                <c:pt idx="89" formatCode="#,##0.00">
                  <c:v>4105.47</c:v>
                </c:pt>
                <c:pt idx="90" formatCode="#,##0.00">
                  <c:v>4108.93</c:v>
                </c:pt>
                <c:pt idx="91" formatCode="#,##0.00">
                  <c:v>4111.82</c:v>
                </c:pt>
                <c:pt idx="92" formatCode="#,##0.00">
                  <c:v>4114.0200000000004</c:v>
                </c:pt>
                <c:pt idx="93" formatCode="#,##0.00">
                  <c:v>4115.8</c:v>
                </c:pt>
                <c:pt idx="94" formatCode="#,##0.00">
                  <c:v>4117.47</c:v>
                </c:pt>
                <c:pt idx="95" formatCode="#,##0.00">
                  <c:v>4119.25</c:v>
                </c:pt>
                <c:pt idx="96" formatCode="#,##0.00">
                  <c:v>4121.13</c:v>
                </c:pt>
                <c:pt idx="97" formatCode="#,##0.00">
                  <c:v>4122.8999999999996</c:v>
                </c:pt>
                <c:pt idx="98" formatCode="#,##0.00">
                  <c:v>4124.59</c:v>
                </c:pt>
                <c:pt idx="99" formatCode="#,##0.00">
                  <c:v>4126.32</c:v>
                </c:pt>
                <c:pt idx="100" formatCode="#,##0.00">
                  <c:v>4128.13</c:v>
                </c:pt>
                <c:pt idx="101" formatCode="#,##0.00">
                  <c:v>4130.08</c:v>
                </c:pt>
                <c:pt idx="102" formatCode="#,##0.00">
                  <c:v>4132.1400000000003</c:v>
                </c:pt>
                <c:pt idx="103" formatCode="#,##0.00">
                  <c:v>4134.25</c:v>
                </c:pt>
                <c:pt idx="104" formatCode="#,##0.00">
                  <c:v>4136.28</c:v>
                </c:pt>
                <c:pt idx="105" formatCode="#,##0.00">
                  <c:v>4138.3</c:v>
                </c:pt>
                <c:pt idx="106" formatCode="#,##0.00">
                  <c:v>4140.3599999999997</c:v>
                </c:pt>
                <c:pt idx="107" formatCode="#,##0.00">
                  <c:v>4142.51</c:v>
                </c:pt>
                <c:pt idx="108" formatCode="#,##0.00">
                  <c:v>4144.74</c:v>
                </c:pt>
                <c:pt idx="109" formatCode="#,##0.00">
                  <c:v>4146.88</c:v>
                </c:pt>
                <c:pt idx="110" formatCode="#,##0.00">
                  <c:v>4148.95</c:v>
                </c:pt>
                <c:pt idx="111" formatCode="#,##0.00">
                  <c:v>4151.0200000000004</c:v>
                </c:pt>
                <c:pt idx="112" formatCode="#,##0.00">
                  <c:v>4153.09</c:v>
                </c:pt>
                <c:pt idx="113" formatCode="#,##0.00">
                  <c:v>4155.21</c:v>
                </c:pt>
                <c:pt idx="114" formatCode="#,##0.00">
                  <c:v>4157.3599999999997</c:v>
                </c:pt>
                <c:pt idx="115" formatCode="#,##0.00">
                  <c:v>4159.57</c:v>
                </c:pt>
                <c:pt idx="116" formatCode="#,##0.00">
                  <c:v>4161.75</c:v>
                </c:pt>
                <c:pt idx="117" formatCode="#,##0.00">
                  <c:v>4163.92</c:v>
                </c:pt>
                <c:pt idx="118" formatCode="#,##0.00">
                  <c:v>4166.09</c:v>
                </c:pt>
                <c:pt idx="119" formatCode="#,##0.00">
                  <c:v>4168.25</c:v>
                </c:pt>
                <c:pt idx="120" formatCode="#,##0.00">
                  <c:v>4170.47</c:v>
                </c:pt>
                <c:pt idx="121" formatCode="#,##0.00">
                  <c:v>4172.63</c:v>
                </c:pt>
                <c:pt idx="122" formatCode="#,##0.00">
                  <c:v>4174.87</c:v>
                </c:pt>
                <c:pt idx="123" formatCode="#,##0.00">
                  <c:v>4177.24</c:v>
                </c:pt>
                <c:pt idx="124" formatCode="#,##0.00">
                  <c:v>4179.62</c:v>
                </c:pt>
                <c:pt idx="125" formatCode="#,##0.00">
                  <c:v>4181.97</c:v>
                </c:pt>
                <c:pt idx="126" formatCode="#,##0.00">
                  <c:v>4184.28</c:v>
                </c:pt>
                <c:pt idx="127" formatCode="#,##0.00">
                  <c:v>4186.57</c:v>
                </c:pt>
                <c:pt idx="128" formatCode="#,##0.00">
                  <c:v>4188.76</c:v>
                </c:pt>
                <c:pt idx="129" formatCode="#,##0.00">
                  <c:v>4190.92</c:v>
                </c:pt>
                <c:pt idx="130" formatCode="#,##0.00">
                  <c:v>4193.07</c:v>
                </c:pt>
                <c:pt idx="131" formatCode="#,##0.00">
                  <c:v>4195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92B-4531-96ED-A902DFA85AE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ost-C19 foreca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3</c:f>
              <c:numCache>
                <c:formatCode>m/d/yyyy</c:formatCode>
                <c:ptCount val="132"/>
                <c:pt idx="0">
                  <c:v>42035</c:v>
                </c:pt>
                <c:pt idx="1">
                  <c:v>42063</c:v>
                </c:pt>
                <c:pt idx="2">
                  <c:v>42094</c:v>
                </c:pt>
                <c:pt idx="3">
                  <c:v>42124</c:v>
                </c:pt>
                <c:pt idx="4">
                  <c:v>42155</c:v>
                </c:pt>
                <c:pt idx="5">
                  <c:v>42185</c:v>
                </c:pt>
                <c:pt idx="6">
                  <c:v>42216</c:v>
                </c:pt>
                <c:pt idx="7">
                  <c:v>42247</c:v>
                </c:pt>
                <c:pt idx="8">
                  <c:v>42277</c:v>
                </c:pt>
                <c:pt idx="9">
                  <c:v>42308</c:v>
                </c:pt>
                <c:pt idx="10">
                  <c:v>42338</c:v>
                </c:pt>
                <c:pt idx="11">
                  <c:v>42369</c:v>
                </c:pt>
                <c:pt idx="12">
                  <c:v>42400</c:v>
                </c:pt>
                <c:pt idx="13">
                  <c:v>42429</c:v>
                </c:pt>
                <c:pt idx="14">
                  <c:v>42460</c:v>
                </c:pt>
                <c:pt idx="15">
                  <c:v>42490</c:v>
                </c:pt>
                <c:pt idx="16">
                  <c:v>42521</c:v>
                </c:pt>
                <c:pt idx="17">
                  <c:v>42551</c:v>
                </c:pt>
                <c:pt idx="18">
                  <c:v>42582</c:v>
                </c:pt>
                <c:pt idx="19">
                  <c:v>42613</c:v>
                </c:pt>
                <c:pt idx="20">
                  <c:v>42643</c:v>
                </c:pt>
                <c:pt idx="21">
                  <c:v>42674</c:v>
                </c:pt>
                <c:pt idx="22">
                  <c:v>42704</c:v>
                </c:pt>
                <c:pt idx="23">
                  <c:v>42735</c:v>
                </c:pt>
                <c:pt idx="24">
                  <c:v>42766</c:v>
                </c:pt>
                <c:pt idx="25">
                  <c:v>42794</c:v>
                </c:pt>
                <c:pt idx="26">
                  <c:v>42825</c:v>
                </c:pt>
                <c:pt idx="27">
                  <c:v>42855</c:v>
                </c:pt>
                <c:pt idx="28">
                  <c:v>42886</c:v>
                </c:pt>
                <c:pt idx="29">
                  <c:v>42916</c:v>
                </c:pt>
                <c:pt idx="30">
                  <c:v>42947</c:v>
                </c:pt>
                <c:pt idx="31">
                  <c:v>42978</c:v>
                </c:pt>
                <c:pt idx="32">
                  <c:v>43008</c:v>
                </c:pt>
                <c:pt idx="33">
                  <c:v>43039</c:v>
                </c:pt>
                <c:pt idx="34">
                  <c:v>43069</c:v>
                </c:pt>
                <c:pt idx="35">
                  <c:v>43100</c:v>
                </c:pt>
                <c:pt idx="36">
                  <c:v>43131</c:v>
                </c:pt>
                <c:pt idx="37">
                  <c:v>43159</c:v>
                </c:pt>
                <c:pt idx="38">
                  <c:v>43190</c:v>
                </c:pt>
                <c:pt idx="39">
                  <c:v>43220</c:v>
                </c:pt>
                <c:pt idx="40">
                  <c:v>43251</c:v>
                </c:pt>
                <c:pt idx="41">
                  <c:v>43281</c:v>
                </c:pt>
                <c:pt idx="42">
                  <c:v>43312</c:v>
                </c:pt>
                <c:pt idx="43">
                  <c:v>43343</c:v>
                </c:pt>
                <c:pt idx="44">
                  <c:v>43373</c:v>
                </c:pt>
                <c:pt idx="45">
                  <c:v>43404</c:v>
                </c:pt>
                <c:pt idx="46">
                  <c:v>43434</c:v>
                </c:pt>
                <c:pt idx="47">
                  <c:v>43465</c:v>
                </c:pt>
                <c:pt idx="48">
                  <c:v>43496</c:v>
                </c:pt>
                <c:pt idx="49">
                  <c:v>43524</c:v>
                </c:pt>
                <c:pt idx="50">
                  <c:v>43555</c:v>
                </c:pt>
                <c:pt idx="51">
                  <c:v>43585</c:v>
                </c:pt>
                <c:pt idx="52">
                  <c:v>43616</c:v>
                </c:pt>
                <c:pt idx="53">
                  <c:v>43646</c:v>
                </c:pt>
                <c:pt idx="54">
                  <c:v>43677</c:v>
                </c:pt>
                <c:pt idx="55">
                  <c:v>43708</c:v>
                </c:pt>
                <c:pt idx="56">
                  <c:v>43738</c:v>
                </c:pt>
                <c:pt idx="57">
                  <c:v>43769</c:v>
                </c:pt>
                <c:pt idx="58">
                  <c:v>43799</c:v>
                </c:pt>
                <c:pt idx="59">
                  <c:v>43830</c:v>
                </c:pt>
                <c:pt idx="60">
                  <c:v>43861</c:v>
                </c:pt>
                <c:pt idx="61">
                  <c:v>43890</c:v>
                </c:pt>
                <c:pt idx="62">
                  <c:v>43921</c:v>
                </c:pt>
                <c:pt idx="63">
                  <c:v>43951</c:v>
                </c:pt>
                <c:pt idx="64">
                  <c:v>43982</c:v>
                </c:pt>
                <c:pt idx="65">
                  <c:v>44012</c:v>
                </c:pt>
                <c:pt idx="66">
                  <c:v>44043</c:v>
                </c:pt>
                <c:pt idx="67">
                  <c:v>44074</c:v>
                </c:pt>
                <c:pt idx="68">
                  <c:v>44104</c:v>
                </c:pt>
                <c:pt idx="69">
                  <c:v>44135</c:v>
                </c:pt>
                <c:pt idx="70">
                  <c:v>44165</c:v>
                </c:pt>
                <c:pt idx="71">
                  <c:v>44196</c:v>
                </c:pt>
                <c:pt idx="72">
                  <c:v>44227</c:v>
                </c:pt>
                <c:pt idx="73">
                  <c:v>44255</c:v>
                </c:pt>
                <c:pt idx="74">
                  <c:v>44286</c:v>
                </c:pt>
                <c:pt idx="75">
                  <c:v>44316</c:v>
                </c:pt>
                <c:pt idx="76">
                  <c:v>44347</c:v>
                </c:pt>
                <c:pt idx="77">
                  <c:v>44377</c:v>
                </c:pt>
                <c:pt idx="78">
                  <c:v>44408</c:v>
                </c:pt>
                <c:pt idx="79">
                  <c:v>44439</c:v>
                </c:pt>
                <c:pt idx="80">
                  <c:v>44469</c:v>
                </c:pt>
                <c:pt idx="81">
                  <c:v>44500</c:v>
                </c:pt>
                <c:pt idx="82">
                  <c:v>44530</c:v>
                </c:pt>
                <c:pt idx="83">
                  <c:v>44561</c:v>
                </c:pt>
                <c:pt idx="84">
                  <c:v>44592</c:v>
                </c:pt>
                <c:pt idx="85">
                  <c:v>44620</c:v>
                </c:pt>
                <c:pt idx="86">
                  <c:v>44651</c:v>
                </c:pt>
                <c:pt idx="87">
                  <c:v>44681</c:v>
                </c:pt>
                <c:pt idx="88">
                  <c:v>44712</c:v>
                </c:pt>
                <c:pt idx="89">
                  <c:v>44742</c:v>
                </c:pt>
                <c:pt idx="90">
                  <c:v>44773</c:v>
                </c:pt>
                <c:pt idx="91">
                  <c:v>44804</c:v>
                </c:pt>
                <c:pt idx="92">
                  <c:v>44834</c:v>
                </c:pt>
                <c:pt idx="93">
                  <c:v>44865</c:v>
                </c:pt>
                <c:pt idx="94">
                  <c:v>44895</c:v>
                </c:pt>
                <c:pt idx="95">
                  <c:v>44926</c:v>
                </c:pt>
                <c:pt idx="96">
                  <c:v>44957</c:v>
                </c:pt>
                <c:pt idx="97">
                  <c:v>44985</c:v>
                </c:pt>
                <c:pt idx="98">
                  <c:v>45016</c:v>
                </c:pt>
                <c:pt idx="99">
                  <c:v>45046</c:v>
                </c:pt>
                <c:pt idx="100">
                  <c:v>45077</c:v>
                </c:pt>
                <c:pt idx="101">
                  <c:v>45107</c:v>
                </c:pt>
                <c:pt idx="102">
                  <c:v>45138</c:v>
                </c:pt>
                <c:pt idx="103">
                  <c:v>45169</c:v>
                </c:pt>
                <c:pt idx="104">
                  <c:v>45199</c:v>
                </c:pt>
                <c:pt idx="105">
                  <c:v>45230</c:v>
                </c:pt>
                <c:pt idx="106">
                  <c:v>45260</c:v>
                </c:pt>
                <c:pt idx="107">
                  <c:v>45291</c:v>
                </c:pt>
                <c:pt idx="108">
                  <c:v>45322</c:v>
                </c:pt>
                <c:pt idx="109">
                  <c:v>45351</c:v>
                </c:pt>
                <c:pt idx="110">
                  <c:v>45382</c:v>
                </c:pt>
                <c:pt idx="111">
                  <c:v>45412</c:v>
                </c:pt>
                <c:pt idx="112">
                  <c:v>45443</c:v>
                </c:pt>
                <c:pt idx="113">
                  <c:v>45473</c:v>
                </c:pt>
                <c:pt idx="114">
                  <c:v>45504</c:v>
                </c:pt>
                <c:pt idx="115">
                  <c:v>45535</c:v>
                </c:pt>
                <c:pt idx="116">
                  <c:v>45565</c:v>
                </c:pt>
                <c:pt idx="117">
                  <c:v>45596</c:v>
                </c:pt>
                <c:pt idx="118">
                  <c:v>45626</c:v>
                </c:pt>
                <c:pt idx="119">
                  <c:v>45657</c:v>
                </c:pt>
                <c:pt idx="120">
                  <c:v>45688</c:v>
                </c:pt>
                <c:pt idx="121">
                  <c:v>45716</c:v>
                </c:pt>
                <c:pt idx="122">
                  <c:v>45747</c:v>
                </c:pt>
                <c:pt idx="123">
                  <c:v>45777</c:v>
                </c:pt>
                <c:pt idx="124">
                  <c:v>45808</c:v>
                </c:pt>
                <c:pt idx="125">
                  <c:v>45838</c:v>
                </c:pt>
                <c:pt idx="126">
                  <c:v>45869</c:v>
                </c:pt>
                <c:pt idx="127">
                  <c:v>45900</c:v>
                </c:pt>
                <c:pt idx="128">
                  <c:v>45930</c:v>
                </c:pt>
                <c:pt idx="129">
                  <c:v>45961</c:v>
                </c:pt>
                <c:pt idx="130">
                  <c:v>45991</c:v>
                </c:pt>
                <c:pt idx="131">
                  <c:v>46022</c:v>
                </c:pt>
              </c:numCache>
            </c:numRef>
          </c:cat>
          <c:val>
            <c:numRef>
              <c:f>Sheet1!$D$2:$D$133</c:f>
              <c:numCache>
                <c:formatCode>General</c:formatCode>
                <c:ptCount val="132"/>
                <c:pt idx="61">
                  <c:v>4065</c:v>
                </c:pt>
                <c:pt idx="62" formatCode="0.00">
                  <c:v>3978.0310157037552</c:v>
                </c:pt>
                <c:pt idx="63" formatCode="0.00">
                  <c:v>3790.0633560180663</c:v>
                </c:pt>
                <c:pt idx="64" formatCode="0.00">
                  <c:v>3665.8190467588365</c:v>
                </c:pt>
                <c:pt idx="65" formatCode="0.00">
                  <c:v>3671.0708689371745</c:v>
                </c:pt>
                <c:pt idx="66" formatCode="0.00">
                  <c:v>3759.2823333740234</c:v>
                </c:pt>
                <c:pt idx="67" formatCode="0.00">
                  <c:v>3845.7385493863012</c:v>
                </c:pt>
                <c:pt idx="68" formatCode="0.00">
                  <c:v>3867.6002189636229</c:v>
                </c:pt>
                <c:pt idx="69" formatCode="0.00">
                  <c:v>3842.700405490014</c:v>
                </c:pt>
                <c:pt idx="70" formatCode="0.00">
                  <c:v>3812.0502352396647</c:v>
                </c:pt>
                <c:pt idx="71" formatCode="0.00">
                  <c:v>3805.3143535737067</c:v>
                </c:pt>
                <c:pt idx="72" formatCode="0.00">
                  <c:v>3817.6100713668329</c:v>
                </c:pt>
                <c:pt idx="73" formatCode="0.00">
                  <c:v>3831.8498839650833</c:v>
                </c:pt>
                <c:pt idx="74" formatCode="0.00">
                  <c:v>3837.451849045292</c:v>
                </c:pt>
                <c:pt idx="75" formatCode="0.00">
                  <c:v>3836.7532254536945</c:v>
                </c:pt>
                <c:pt idx="76" formatCode="0.00">
                  <c:v>3836.3520308386896</c:v>
                </c:pt>
                <c:pt idx="77" formatCode="0.00">
                  <c:v>3841.3026483376821</c:v>
                </c:pt>
                <c:pt idx="78" formatCode="0.00">
                  <c:v>3850.4985126218489</c:v>
                </c:pt>
                <c:pt idx="79" formatCode="0.00">
                  <c:v>3860.8669827022859</c:v>
                </c:pt>
                <c:pt idx="80" formatCode="0.00">
                  <c:v>3869.8195575475693</c:v>
                </c:pt>
                <c:pt idx="81" formatCode="0.00">
                  <c:v>3878.1893849526682</c:v>
                </c:pt>
                <c:pt idx="82" formatCode="0.00">
                  <c:v>3887.5647332191465</c:v>
                </c:pt>
                <c:pt idx="83" formatCode="0.00">
                  <c:v>3898.9827589988708</c:v>
                </c:pt>
                <c:pt idx="84" formatCode="0.00">
                  <c:v>3911.9076446871604</c:v>
                </c:pt>
                <c:pt idx="85" formatCode="0.00">
                  <c:v>3924.2125334697112</c:v>
                </c:pt>
                <c:pt idx="86" formatCode="0.00">
                  <c:v>3935.6286072461835</c:v>
                </c:pt>
                <c:pt idx="87" formatCode="0.00">
                  <c:v>3946.6995450099307</c:v>
                </c:pt>
                <c:pt idx="88" formatCode="0.00">
                  <c:v>3957.5595049444705</c:v>
                </c:pt>
                <c:pt idx="89" formatCode="0.00">
                  <c:v>3968.5924045840898</c:v>
                </c:pt>
                <c:pt idx="90" formatCode="0.00">
                  <c:v>3979.6585970790156</c:v>
                </c:pt>
                <c:pt idx="91" formatCode="0.00">
                  <c:v>3990.6193305109778</c:v>
                </c:pt>
                <c:pt idx="92" formatCode="0.00">
                  <c:v>4000.9296923836073</c:v>
                </c:pt>
                <c:pt idx="93" formatCode="0.00">
                  <c:v>4010.9424602485474</c:v>
                </c:pt>
                <c:pt idx="94" formatCode="0.00">
                  <c:v>4020.9496186107399</c:v>
                </c:pt>
                <c:pt idx="95" formatCode="0.00">
                  <c:v>4031.1311390726796</c:v>
                </c:pt>
                <c:pt idx="96" formatCode="0.00">
                  <c:v>4041.4908699700909</c:v>
                </c:pt>
                <c:pt idx="97" formatCode="0.00">
                  <c:v>4051.1048967848933</c:v>
                </c:pt>
                <c:pt idx="98" formatCode="0.00">
                  <c:v>4060.2504458191893</c:v>
                </c:pt>
                <c:pt idx="99" formatCode="0.00">
                  <c:v>4069.1074355140327</c:v>
                </c:pt>
                <c:pt idx="100" formatCode="0.00">
                  <c:v>4077.2589943750249</c:v>
                </c:pt>
                <c:pt idx="101" formatCode="0.00">
                  <c:v>4084.6723743249972</c:v>
                </c:pt>
                <c:pt idx="102" formatCode="0.00">
                  <c:v>4091.4412572797269</c:v>
                </c:pt>
                <c:pt idx="103" formatCode="0.00">
                  <c:v>4097.8178896101854</c:v>
                </c:pt>
                <c:pt idx="104" formatCode="0.00">
                  <c:v>4103.7130769539626</c:v>
                </c:pt>
                <c:pt idx="105" formatCode="0.00">
                  <c:v>4109.2509805891787</c:v>
                </c:pt>
                <c:pt idx="106" formatCode="0.00">
                  <c:v>4114.425556423018</c:v>
                </c:pt>
                <c:pt idx="107" formatCode="0.00">
                  <c:v>4119.2051511483805</c:v>
                </c:pt>
                <c:pt idx="108" formatCode="0.00">
                  <c:v>4123.5799939632416</c:v>
                </c:pt>
                <c:pt idx="109" formatCode="0.00">
                  <c:v>4127.2583289583181</c:v>
                </c:pt>
                <c:pt idx="110" formatCode="0.00">
                  <c:v>4130.3258083030105</c:v>
                </c:pt>
                <c:pt idx="111" formatCode="0.00">
                  <c:v>4132.8923630843556</c:v>
                </c:pt>
                <c:pt idx="112" formatCode="0.00">
                  <c:v>4134.9979327465253</c:v>
                </c:pt>
                <c:pt idx="113" formatCode="0.00">
                  <c:v>4136.7707879761856</c:v>
                </c:pt>
                <c:pt idx="114" formatCode="0.00">
                  <c:v>4138.3926508368986</c:v>
                </c:pt>
                <c:pt idx="115" formatCode="0.00">
                  <c:v>4140.0971452985559</c:v>
                </c:pt>
                <c:pt idx="116" formatCode="0.00">
                  <c:v>4141.9745803907517</c:v>
                </c:pt>
                <c:pt idx="117" formatCode="0.00">
                  <c:v>4144.0221075026257</c:v>
                </c:pt>
                <c:pt idx="118" formatCode="0.00">
                  <c:v>4146.151883474241</c:v>
                </c:pt>
                <c:pt idx="119" formatCode="0.00">
                  <c:v>4148.2844577474943</c:v>
                </c:pt>
                <c:pt idx="120" formatCode="0.00">
                  <c:v>4150.3950129963696</c:v>
                </c:pt>
                <c:pt idx="121" formatCode="0.00">
                  <c:v>4152.3030748484389</c:v>
                </c:pt>
                <c:pt idx="122" formatCode="0.00">
                  <c:v>4154.0890150887353</c:v>
                </c:pt>
                <c:pt idx="123" formatCode="0.00">
                  <c:v>4155.8696150263149</c:v>
                </c:pt>
                <c:pt idx="124" formatCode="0.00">
                  <c:v>4157.670139228444</c:v>
                </c:pt>
                <c:pt idx="125" formatCode="0.00">
                  <c:v>4159.5583239564048</c:v>
                </c:pt>
                <c:pt idx="126" formatCode="0.00">
                  <c:v>4161.5395898728839</c:v>
                </c:pt>
                <c:pt idx="127" formatCode="0.00">
                  <c:v>4163.6309990927939</c:v>
                </c:pt>
                <c:pt idx="128" formatCode="0.00">
                  <c:v>4165.7559906249244</c:v>
                </c:pt>
                <c:pt idx="129" formatCode="0.00">
                  <c:v>4167.962115577152</c:v>
                </c:pt>
                <c:pt idx="130" formatCode="0.00">
                  <c:v>4170.2691762338081</c:v>
                </c:pt>
                <c:pt idx="131" formatCode="0.00">
                  <c:v>4172.6835756917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92B-4531-96ED-A902DFA85A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6834160"/>
        <c:axId val="1736832912"/>
      </c:lineChart>
      <c:dateAx>
        <c:axId val="1736834160"/>
        <c:scaling>
          <c:orientation val="minMax"/>
        </c:scaling>
        <c:delete val="0"/>
        <c:axPos val="b"/>
        <c:numFmt formatCode="yy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6832912"/>
        <c:crosses val="autoZero"/>
        <c:auto val="1"/>
        <c:lblOffset val="100"/>
        <c:baseTimeUnit val="months"/>
        <c:majorUnit val="1"/>
        <c:majorTimeUnit val="years"/>
      </c:dateAx>
      <c:valAx>
        <c:axId val="1736832912"/>
        <c:scaling>
          <c:orientation val="minMax"/>
          <c:min val="3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6834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1.8304055871832792E-3"/>
          <c:w val="0.64316416445313906"/>
          <c:h val="5.513831636991977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5-18T19:08:24.857"/>
    </inkml:context>
    <inkml:brush xml:id="br0">
      <inkml:brushProperty name="width" value="0.05" units="cm"/>
      <inkml:brushProperty name="height" value="0.05" units="cm"/>
      <inkml:brushProperty name="color" value="#00A0D7"/>
      <inkml:brushProperty name="ignorePressure" value="1"/>
    </inkml:brush>
  </inkml:definitions>
  <inkml:trace contextRef="#ctx0" brushRef="#br0">1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A4717-17EE-40C3-ADBE-18DA2D2F304B}" type="datetimeFigureOut">
              <a:rPr lang="en-CA" smtClean="0"/>
              <a:t>2020-07-3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9B3027-B0AE-47F6-A1F3-C27C8BDFA60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46603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4225" y="701675"/>
            <a:ext cx="5289550" cy="3968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65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2.sv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4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4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4.sv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4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8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6.png"/><Relationship Id="rId7" Type="http://schemas.openxmlformats.org/officeDocument/2006/relationships/image" Target="../media/image1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10" Type="http://schemas.openxmlformats.org/officeDocument/2006/relationships/image" Target="../media/image20.png"/><Relationship Id="rId4" Type="http://schemas.openxmlformats.org/officeDocument/2006/relationships/image" Target="../media/image18.png"/><Relationship Id="rId9" Type="http://schemas.openxmlformats.org/officeDocument/2006/relationships/image" Target="../media/image2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6.png"/><Relationship Id="rId7" Type="http://schemas.openxmlformats.org/officeDocument/2006/relationships/image" Target="../media/image2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8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0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0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0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0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31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3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6.png"/><Relationship Id="rId7" Type="http://schemas.openxmlformats.org/officeDocument/2006/relationships/image" Target="../media/image7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20.png"/><Relationship Id="rId5" Type="http://schemas.openxmlformats.org/officeDocument/2006/relationships/image" Target="../media/image5.png"/><Relationship Id="rId10" Type="http://schemas.openxmlformats.org/officeDocument/2006/relationships/image" Target="../media/image24.sv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0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8.png"/><Relationship Id="rId7" Type="http://schemas.openxmlformats.org/officeDocument/2006/relationships/image" Target="../media/image2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20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svg"/><Relationship Id="rId7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8.png"/><Relationship Id="rId4" Type="http://schemas.openxmlformats.org/officeDocument/2006/relationships/image" Target="../media/image37.png"/><Relationship Id="rId9" Type="http://schemas.openxmlformats.org/officeDocument/2006/relationships/image" Target="../media/image38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9.svg"/><Relationship Id="rId7" Type="http://schemas.openxmlformats.org/officeDocument/2006/relationships/image" Target="../media/image6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8.png"/><Relationship Id="rId4" Type="http://schemas.openxmlformats.org/officeDocument/2006/relationships/image" Target="../media/image37.png"/><Relationship Id="rId9" Type="http://schemas.openxmlformats.org/officeDocument/2006/relationships/image" Target="../media/image3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1.svg"/><Relationship Id="rId7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8.png"/><Relationship Id="rId4" Type="http://schemas.openxmlformats.org/officeDocument/2006/relationships/image" Target="../media/image37.png"/><Relationship Id="rId9" Type="http://schemas.openxmlformats.org/officeDocument/2006/relationships/image" Target="../media/image38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svg"/><Relationship Id="rId7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8.png"/><Relationship Id="rId10" Type="http://schemas.openxmlformats.org/officeDocument/2006/relationships/image" Target="../media/image41.jpeg"/><Relationship Id="rId4" Type="http://schemas.openxmlformats.org/officeDocument/2006/relationships/image" Target="../media/image40.png"/><Relationship Id="rId9" Type="http://schemas.openxmlformats.org/officeDocument/2006/relationships/image" Target="../media/image38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9.svg"/><Relationship Id="rId7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8.png"/><Relationship Id="rId10" Type="http://schemas.openxmlformats.org/officeDocument/2006/relationships/image" Target="../media/image41.jpeg"/><Relationship Id="rId4" Type="http://schemas.openxmlformats.org/officeDocument/2006/relationships/image" Target="../media/image40.png"/><Relationship Id="rId9" Type="http://schemas.openxmlformats.org/officeDocument/2006/relationships/image" Target="../media/image38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1.svg"/><Relationship Id="rId7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8.png"/><Relationship Id="rId10" Type="http://schemas.openxmlformats.org/officeDocument/2006/relationships/image" Target="../media/image41.jpeg"/><Relationship Id="rId4" Type="http://schemas.openxmlformats.org/officeDocument/2006/relationships/image" Target="../media/image40.png"/><Relationship Id="rId9" Type="http://schemas.openxmlformats.org/officeDocument/2006/relationships/image" Target="../media/image38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18.png"/><Relationship Id="rId7" Type="http://schemas.openxmlformats.org/officeDocument/2006/relationships/image" Target="../media/image38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18.png"/><Relationship Id="rId7" Type="http://schemas.openxmlformats.org/officeDocument/2006/relationships/image" Target="../media/image3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8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9.svg"/><Relationship Id="rId7" Type="http://schemas.openxmlformats.org/officeDocument/2006/relationships/image" Target="../media/image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8.png"/><Relationship Id="rId4" Type="http://schemas.openxmlformats.org/officeDocument/2006/relationships/image" Target="../media/image40.pn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11.svg"/><Relationship Id="rId7" Type="http://schemas.openxmlformats.org/officeDocument/2006/relationships/image" Target="../media/image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8.png"/><Relationship Id="rId4" Type="http://schemas.openxmlformats.org/officeDocument/2006/relationships/image" Target="../media/image4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hot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02C580C-279C-C14B-A35B-19A3198CE523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2EA00E4-A5CA-8A45-BBC6-14C9E3239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9144001" cy="5696907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0430D3F5-0DA7-044B-A6F4-A7E78D2279FC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6673517" y="5356375"/>
            <a:ext cx="2254584" cy="152349"/>
          </a:xfrm>
          <a:effectLst/>
        </p:spPr>
        <p:txBody>
          <a:bodyPr wrap="square" anchor="b">
            <a:sp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6B2C3DE-0130-DA4D-94C6-482024DAA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420387" cy="5696907"/>
          </a:xfrm>
          <a:custGeom>
            <a:avLst/>
            <a:gdLst>
              <a:gd name="connsiteX0" fmla="*/ 0 w 6420387"/>
              <a:gd name="connsiteY0" fmla="*/ 0 h 5696907"/>
              <a:gd name="connsiteX1" fmla="*/ 3716919 w 6420387"/>
              <a:gd name="connsiteY1" fmla="*/ 0 h 5696907"/>
              <a:gd name="connsiteX2" fmla="*/ 6420387 w 6420387"/>
              <a:gd name="connsiteY2" fmla="*/ 5696907 h 5696907"/>
              <a:gd name="connsiteX3" fmla="*/ 0 w 6420387"/>
              <a:gd name="connsiteY3" fmla="*/ 5696907 h 569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0387" h="5696907">
                <a:moveTo>
                  <a:pt x="0" y="0"/>
                </a:moveTo>
                <a:lnTo>
                  <a:pt x="3716919" y="0"/>
                </a:lnTo>
                <a:lnTo>
                  <a:pt x="6420387" y="5696907"/>
                </a:lnTo>
                <a:lnTo>
                  <a:pt x="0" y="5696907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rIns="1080000" bIns="360000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presentation title. 3 lines max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8866ED3-A469-2941-AC64-FCD321413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F2488-D761-CD4C-9517-9EF654BF32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1" y="6061208"/>
            <a:ext cx="3313429" cy="364145"/>
          </a:xfrm>
        </p:spPr>
        <p:txBody>
          <a:bodyPr anchor="ctr"/>
          <a:lstStyle>
            <a:lvl1pPr marL="9525" indent="0">
              <a:buFontTx/>
              <a:buNone/>
              <a:tabLst/>
              <a:defRPr sz="1400" b="0">
                <a:solidFill>
                  <a:schemeClr val="bg1"/>
                </a:solidFill>
              </a:defRPr>
            </a:lvl1pPr>
            <a:lvl2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  <a:lvl6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6pPr>
            <a:lvl7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7pPr>
            <a:lvl8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8pPr>
            <a:lvl9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 (Month DD, YYYY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7A1D6F1-47B6-2D4F-A5EC-E7EA70685A9A}"/>
              </a:ext>
            </a:extLst>
          </p:cNvPr>
          <p:cNvGrpSpPr/>
          <p:nvPr userDrawn="1"/>
        </p:nvGrpSpPr>
        <p:grpSpPr>
          <a:xfrm>
            <a:off x="-256964" y="3892184"/>
            <a:ext cx="251461" cy="1365066"/>
            <a:chOff x="-256404" y="360363"/>
            <a:chExt cx="251461" cy="692152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D298027-A0B6-0B47-9F3C-4771F8511D99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EE244243-B24F-614B-B0DC-CA05EF17A1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1216D1E7-03CD-BD4D-886C-ACE79F5FBD2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4B3AD39-0D61-0F4F-86A5-31F8A0FBDC80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D333CAE-7C17-5742-987D-8F3FF786584C}"/>
                </a:ext>
              </a:extLst>
            </p:cNvPr>
            <p:cNvSpPr txBox="1"/>
            <p:nvPr userDrawn="1"/>
          </p:nvSpPr>
          <p:spPr>
            <a:xfrm rot="16200000">
              <a:off x="-252501" y="649201"/>
              <a:ext cx="243656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CA0517E-4F60-ED4F-804A-16FA757BDA91}"/>
              </a:ext>
            </a:extLst>
          </p:cNvPr>
          <p:cNvGrpSpPr/>
          <p:nvPr userDrawn="1"/>
        </p:nvGrpSpPr>
        <p:grpSpPr>
          <a:xfrm>
            <a:off x="-256964" y="6029561"/>
            <a:ext cx="251461" cy="414972"/>
            <a:chOff x="-256404" y="360363"/>
            <a:chExt cx="251461" cy="692152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1CA14E0-B2B8-6547-B2FF-02D6D0D2AA2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E17766C4-7F63-E341-9DD3-A8015F5B87B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B5CEC5FE-E83E-6344-A543-7C48E4E5807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A81F2A08-CD7A-9F40-9BAD-6D3B470AEF55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3586E52-67F0-F147-887F-B29479026788}"/>
                </a:ext>
              </a:extLst>
            </p:cNvPr>
            <p:cNvSpPr txBox="1"/>
            <p:nvPr userDrawn="1"/>
          </p:nvSpPr>
          <p:spPr>
            <a:xfrm rot="16200000">
              <a:off x="-328529" y="649200"/>
              <a:ext cx="395711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0324618-DAA0-AA4B-9D19-4C5917E6AD17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A17378CA-6F0B-E244-B593-14A0519D7B3D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E9011C3D-7CD8-0344-B7A8-5EB8BA672D6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6C90CBB9-252D-2F47-ABB4-4CDD951CEF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4161E6EE-AF2E-7A45-9726-9A3046CE8F16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73DA8D4-7F8C-D740-A4BF-88AF1D076647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19655BBE-3B94-894C-82E3-F6F93535375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AE3B2248-F4F9-F64D-8490-2B442A6B8C4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7D6A647D-1D6F-6C47-83BD-17138A36B786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C139F0AA-BA6B-2B4E-A000-2FCE687878ED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EE164B6B-5105-8441-900A-B3B9CD49AC3C}"/>
                  </a:ext>
                </a:extLst>
              </p:cNvPr>
              <p:cNvCxnSpPr>
                <a:cxnSpLocks/>
                <a:stCxn id="53" idx="1"/>
                <a:endCxn id="58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Arrow Connector 54">
                <a:extLst>
                  <a:ext uri="{FF2B5EF4-FFF2-40B4-BE49-F238E27FC236}">
                    <a16:creationId xmlns:a16="http://schemas.microsoft.com/office/drawing/2014/main" id="{7A3DB2F7-3663-414A-8C28-BF0153DC91B2}"/>
                  </a:ext>
                </a:extLst>
              </p:cNvPr>
              <p:cNvCxnSpPr>
                <a:cxnSpLocks/>
                <a:stCxn id="53" idx="3"/>
                <a:endCxn id="58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90B4BF76-26CB-DD42-95F3-0856CB26B760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DDFBC44C-C784-D741-8FC2-D2844A5E3CAB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1D13472D-5526-2341-8CE3-0D35914DC533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F12870B0-E29F-4A42-B891-72FD7A246DFC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02FDC427-491B-374C-8023-8DFAE108CCD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DED24FC4-94EA-E64A-8136-B042701F250C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68E1B116-B1A8-2941-86BC-B04EAE58ACB1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09" name="Rectangle 108">
                  <a:extLst>
                    <a:ext uri="{FF2B5EF4-FFF2-40B4-BE49-F238E27FC236}">
                      <a16:creationId xmlns:a16="http://schemas.microsoft.com/office/drawing/2014/main" id="{6537BD58-CBB5-7F41-82A2-9C59DD1ECC9B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024B268F-6F8C-AA41-8AA3-0A1E8AA1D2C3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11" name="Graphic 110">
                  <a:extLst>
                    <a:ext uri="{FF2B5EF4-FFF2-40B4-BE49-F238E27FC236}">
                      <a16:creationId xmlns:a16="http://schemas.microsoft.com/office/drawing/2014/main" id="{DEF9DC04-8A49-834C-AA26-47113075C4C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12" name="TextBox 111">
                  <a:extLst>
                    <a:ext uri="{FF2B5EF4-FFF2-40B4-BE49-F238E27FC236}">
                      <a16:creationId xmlns:a16="http://schemas.microsoft.com/office/drawing/2014/main" id="{80748D19-55BA-2B4E-BFA4-0FB8976B8E5C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13" name="TextBox 112">
                  <a:extLst>
                    <a:ext uri="{FF2B5EF4-FFF2-40B4-BE49-F238E27FC236}">
                      <a16:creationId xmlns:a16="http://schemas.microsoft.com/office/drawing/2014/main" id="{7567C1EC-FF55-6347-9457-1757BD693A3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14" name="TextBox 113">
                  <a:extLst>
                    <a:ext uri="{FF2B5EF4-FFF2-40B4-BE49-F238E27FC236}">
                      <a16:creationId xmlns:a16="http://schemas.microsoft.com/office/drawing/2014/main" id="{9CF6FC20-54A1-454F-9632-6A6B5E03EE2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9EE783D9-2C22-A54E-AB84-273433871D1C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04" name="Rectangle 103">
                  <a:extLst>
                    <a:ext uri="{FF2B5EF4-FFF2-40B4-BE49-F238E27FC236}">
                      <a16:creationId xmlns:a16="http://schemas.microsoft.com/office/drawing/2014/main" id="{D7552A1D-16DF-ED43-B2B8-3427B3C8781C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104B3E05-A7DF-D444-AF59-6E11D17D4788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06" name="Graphic 105">
                  <a:extLst>
                    <a:ext uri="{FF2B5EF4-FFF2-40B4-BE49-F238E27FC236}">
                      <a16:creationId xmlns:a16="http://schemas.microsoft.com/office/drawing/2014/main" id="{931F958A-80B4-7143-AB27-6F74DF73F52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07" name="TextBox 106">
                  <a:extLst>
                    <a:ext uri="{FF2B5EF4-FFF2-40B4-BE49-F238E27FC236}">
                      <a16:creationId xmlns:a16="http://schemas.microsoft.com/office/drawing/2014/main" id="{562857C1-DA49-9C40-876C-CE3E7A60A30D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08" name="Picture 107">
                  <a:extLst>
                    <a:ext uri="{FF2B5EF4-FFF2-40B4-BE49-F238E27FC236}">
                      <a16:creationId xmlns:a16="http://schemas.microsoft.com/office/drawing/2014/main" id="{4959277C-CED2-434C-88B2-9FAA87DF5D1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141A0029-6405-3B4B-83F9-A4F9A487D704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101" name="TextBox 100">
                  <a:extLst>
                    <a:ext uri="{FF2B5EF4-FFF2-40B4-BE49-F238E27FC236}">
                      <a16:creationId xmlns:a16="http://schemas.microsoft.com/office/drawing/2014/main" id="{A178244F-2239-7745-B8B4-292832D49736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01E5AD18-29D7-DA40-B00E-DAAB91464CDE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C19C5FDC-EF08-4D4F-B09B-D904B9D740F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797082B9-EF68-E740-B2D3-2495F712D156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E7FF31FB-D280-A342-A9A6-BDF19D46ACE5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383A2422-39E9-674D-B3BB-200CCA34A58D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36B72675-39F1-A14B-907E-15B0263BADC8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4951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DBF7CE65-A49E-3C40-A08E-4922AF1EE55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1" cy="6858001"/>
          </a:xfrm>
          <a:custGeom>
            <a:avLst/>
            <a:gdLst>
              <a:gd name="connsiteX0" fmla="*/ 8545320 w 9144001"/>
              <a:gd name="connsiteY0" fmla="*/ 6577275 h 6858001"/>
              <a:gd name="connsiteX1" fmla="*/ 8554630 w 9144001"/>
              <a:gd name="connsiteY1" fmla="*/ 6577275 h 6858001"/>
              <a:gd name="connsiteX2" fmla="*/ 8572756 w 9144001"/>
              <a:gd name="connsiteY2" fmla="*/ 6592564 h 6858001"/>
              <a:gd name="connsiteX3" fmla="*/ 8552840 w 9144001"/>
              <a:gd name="connsiteY3" fmla="*/ 6608587 h 6858001"/>
              <a:gd name="connsiteX4" fmla="*/ 8552840 w 9144001"/>
              <a:gd name="connsiteY4" fmla="*/ 6608474 h 6858001"/>
              <a:gd name="connsiteX5" fmla="*/ 8545320 w 9144001"/>
              <a:gd name="connsiteY5" fmla="*/ 6608474 h 6858001"/>
              <a:gd name="connsiteX6" fmla="*/ 8440531 w 9144001"/>
              <a:gd name="connsiteY6" fmla="*/ 6576165 h 6858001"/>
              <a:gd name="connsiteX7" fmla="*/ 8450869 w 9144001"/>
              <a:gd name="connsiteY7" fmla="*/ 6576165 h 6858001"/>
              <a:gd name="connsiteX8" fmla="*/ 8486566 w 9144001"/>
              <a:gd name="connsiteY8" fmla="*/ 6607214 h 6858001"/>
              <a:gd name="connsiteX9" fmla="*/ 8452487 w 9144001"/>
              <a:gd name="connsiteY9" fmla="*/ 6640295 h 6858001"/>
              <a:gd name="connsiteX10" fmla="*/ 8440531 w 9144001"/>
              <a:gd name="connsiteY10" fmla="*/ 6640295 h 6858001"/>
              <a:gd name="connsiteX11" fmla="*/ 8359312 w 9144001"/>
              <a:gd name="connsiteY11" fmla="*/ 6554745 h 6858001"/>
              <a:gd name="connsiteX12" fmla="*/ 8357846 w 9144001"/>
              <a:gd name="connsiteY12" fmla="*/ 6557848 h 6858001"/>
              <a:gd name="connsiteX13" fmla="*/ 8338065 w 9144001"/>
              <a:gd name="connsiteY13" fmla="*/ 6599654 h 6858001"/>
              <a:gd name="connsiteX14" fmla="*/ 8338065 w 9144001"/>
              <a:gd name="connsiteY14" fmla="*/ 6661565 h 6858001"/>
              <a:gd name="connsiteX15" fmla="*/ 8406528 w 9144001"/>
              <a:gd name="connsiteY15" fmla="*/ 6661565 h 6858001"/>
              <a:gd name="connsiteX16" fmla="*/ 8406528 w 9144001"/>
              <a:gd name="connsiteY16" fmla="*/ 6638978 h 6858001"/>
              <a:gd name="connsiteX17" fmla="*/ 8363158 w 9144001"/>
              <a:gd name="connsiteY17" fmla="*/ 6638978 h 6858001"/>
              <a:gd name="connsiteX18" fmla="*/ 8363158 w 9144001"/>
              <a:gd name="connsiteY18" fmla="*/ 6618141 h 6858001"/>
              <a:gd name="connsiteX19" fmla="*/ 8402682 w 9144001"/>
              <a:gd name="connsiteY19" fmla="*/ 6618141 h 6858001"/>
              <a:gd name="connsiteX20" fmla="*/ 8402682 w 9144001"/>
              <a:gd name="connsiteY20" fmla="*/ 6596570 h 6858001"/>
              <a:gd name="connsiteX21" fmla="*/ 8363158 w 9144001"/>
              <a:gd name="connsiteY21" fmla="*/ 6596570 h 6858001"/>
              <a:gd name="connsiteX22" fmla="*/ 8363158 w 9144001"/>
              <a:gd name="connsiteY22" fmla="*/ 6577482 h 6858001"/>
              <a:gd name="connsiteX23" fmla="*/ 8406528 w 9144001"/>
              <a:gd name="connsiteY23" fmla="*/ 6577482 h 6858001"/>
              <a:gd name="connsiteX24" fmla="*/ 8406528 w 9144001"/>
              <a:gd name="connsiteY24" fmla="*/ 6554745 h 6858001"/>
              <a:gd name="connsiteX25" fmla="*/ 8245575 w 9144001"/>
              <a:gd name="connsiteY25" fmla="*/ 6554726 h 6858001"/>
              <a:gd name="connsiteX26" fmla="*/ 8262082 w 9144001"/>
              <a:gd name="connsiteY26" fmla="*/ 6589123 h 6858001"/>
              <a:gd name="connsiteX27" fmla="*/ 8288526 w 9144001"/>
              <a:gd name="connsiteY27" fmla="*/ 6589123 h 6858001"/>
              <a:gd name="connsiteX28" fmla="*/ 8273962 w 9144001"/>
              <a:gd name="connsiteY28" fmla="*/ 6554726 h 6858001"/>
              <a:gd name="connsiteX29" fmla="*/ 8520246 w 9144001"/>
              <a:gd name="connsiteY29" fmla="*/ 6554707 h 6858001"/>
              <a:gd name="connsiteX30" fmla="*/ 8520246 w 9144001"/>
              <a:gd name="connsiteY30" fmla="*/ 6661564 h 6858001"/>
              <a:gd name="connsiteX31" fmla="*/ 8545320 w 9144001"/>
              <a:gd name="connsiteY31" fmla="*/ 6661564 h 6858001"/>
              <a:gd name="connsiteX32" fmla="*/ 8545320 w 9144001"/>
              <a:gd name="connsiteY32" fmla="*/ 6629932 h 6858001"/>
              <a:gd name="connsiteX33" fmla="*/ 8554630 w 9144001"/>
              <a:gd name="connsiteY33" fmla="*/ 6629932 h 6858001"/>
              <a:gd name="connsiteX34" fmla="*/ 8598420 w 9144001"/>
              <a:gd name="connsiteY34" fmla="*/ 6592019 h 6858001"/>
              <a:gd name="connsiteX35" fmla="*/ 8550346 w 9144001"/>
              <a:gd name="connsiteY35" fmla="*/ 6554707 h 6858001"/>
              <a:gd name="connsiteX36" fmla="*/ 8415495 w 9144001"/>
              <a:gd name="connsiteY36" fmla="*/ 6554707 h 6858001"/>
              <a:gd name="connsiteX37" fmla="*/ 8415495 w 9144001"/>
              <a:gd name="connsiteY37" fmla="*/ 6661470 h 6858001"/>
              <a:gd name="connsiteX38" fmla="*/ 8448546 w 9144001"/>
              <a:gd name="connsiteY38" fmla="*/ 6661583 h 6858001"/>
              <a:gd name="connsiteX39" fmla="*/ 8513278 w 9144001"/>
              <a:gd name="connsiteY39" fmla="*/ 6607214 h 6858001"/>
              <a:gd name="connsiteX40" fmla="*/ 8447461 w 9144001"/>
              <a:gd name="connsiteY40" fmla="*/ 6554745 h 6858001"/>
              <a:gd name="connsiteX41" fmla="*/ 8447499 w 9144001"/>
              <a:gd name="connsiteY41" fmla="*/ 6554707 h 6858001"/>
              <a:gd name="connsiteX42" fmla="*/ 8415495 w 9144001"/>
              <a:gd name="connsiteY42" fmla="*/ 6554707 h 6858001"/>
              <a:gd name="connsiteX43" fmla="*/ 8323900 w 9144001"/>
              <a:gd name="connsiteY43" fmla="*/ 6554707 h 6858001"/>
              <a:gd name="connsiteX44" fmla="*/ 8298693 w 9144001"/>
              <a:gd name="connsiteY44" fmla="*/ 6612649 h 6858001"/>
              <a:gd name="connsiteX45" fmla="*/ 8291858 w 9144001"/>
              <a:gd name="connsiteY45" fmla="*/ 6596645 h 6858001"/>
              <a:gd name="connsiteX46" fmla="*/ 8265623 w 9144001"/>
              <a:gd name="connsiteY46" fmla="*/ 6596645 h 6858001"/>
              <a:gd name="connsiteX47" fmla="*/ 8296942 w 9144001"/>
              <a:gd name="connsiteY47" fmla="*/ 6661978 h 6858001"/>
              <a:gd name="connsiteX48" fmla="*/ 8299855 w 9144001"/>
              <a:gd name="connsiteY48" fmla="*/ 6661978 h 6858001"/>
              <a:gd name="connsiteX49" fmla="*/ 8350593 w 9144001"/>
              <a:gd name="connsiteY49" fmla="*/ 6554707 h 6858001"/>
              <a:gd name="connsiteX50" fmla="*/ 8704282 w 9144001"/>
              <a:gd name="connsiteY50" fmla="*/ 6516148 h 6858001"/>
              <a:gd name="connsiteX51" fmla="*/ 8704282 w 9144001"/>
              <a:gd name="connsiteY51" fmla="*/ 6690773 h 6858001"/>
              <a:gd name="connsiteX52" fmla="*/ 8723671 w 9144001"/>
              <a:gd name="connsiteY52" fmla="*/ 6690773 h 6858001"/>
              <a:gd name="connsiteX53" fmla="*/ 8723671 w 9144001"/>
              <a:gd name="connsiteY53" fmla="*/ 6516148 h 6858001"/>
              <a:gd name="connsiteX54" fmla="*/ 0 w 9144001"/>
              <a:gd name="connsiteY54" fmla="*/ 0 h 6858001"/>
              <a:gd name="connsiteX55" fmla="*/ 9144001 w 9144001"/>
              <a:gd name="connsiteY55" fmla="*/ 0 h 6858001"/>
              <a:gd name="connsiteX56" fmla="*/ 9144001 w 9144001"/>
              <a:gd name="connsiteY56" fmla="*/ 6858001 h 6858001"/>
              <a:gd name="connsiteX57" fmla="*/ 0 w 9144001"/>
              <a:gd name="connsiteY5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1" h="6858001">
                <a:moveTo>
                  <a:pt x="8545320" y="6577275"/>
                </a:moveTo>
                <a:lnTo>
                  <a:pt x="8554630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0" y="6608587"/>
                </a:cubicBezTo>
                <a:lnTo>
                  <a:pt x="8552840" y="6608474"/>
                </a:lnTo>
                <a:lnTo>
                  <a:pt x="8545320" y="6608474"/>
                </a:lnTo>
                <a:close/>
                <a:moveTo>
                  <a:pt x="8440531" y="6576165"/>
                </a:moveTo>
                <a:lnTo>
                  <a:pt x="8450869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1" y="6640295"/>
                </a:lnTo>
                <a:close/>
                <a:moveTo>
                  <a:pt x="8359312" y="6554745"/>
                </a:moveTo>
                <a:lnTo>
                  <a:pt x="8357846" y="6557848"/>
                </a:lnTo>
                <a:lnTo>
                  <a:pt x="8338065" y="6599654"/>
                </a:lnTo>
                <a:lnTo>
                  <a:pt x="8338065" y="6661565"/>
                </a:lnTo>
                <a:lnTo>
                  <a:pt x="8406528" y="6661565"/>
                </a:lnTo>
                <a:lnTo>
                  <a:pt x="8406528" y="6638978"/>
                </a:lnTo>
                <a:lnTo>
                  <a:pt x="8363158" y="6638978"/>
                </a:lnTo>
                <a:lnTo>
                  <a:pt x="8363158" y="6618141"/>
                </a:lnTo>
                <a:lnTo>
                  <a:pt x="8402682" y="6618141"/>
                </a:lnTo>
                <a:lnTo>
                  <a:pt x="8402682" y="6596570"/>
                </a:lnTo>
                <a:lnTo>
                  <a:pt x="8363158" y="6596570"/>
                </a:lnTo>
                <a:lnTo>
                  <a:pt x="8363158" y="6577482"/>
                </a:lnTo>
                <a:lnTo>
                  <a:pt x="8406528" y="6577482"/>
                </a:lnTo>
                <a:lnTo>
                  <a:pt x="8406528" y="6554745"/>
                </a:lnTo>
                <a:close/>
                <a:moveTo>
                  <a:pt x="8245575" y="6554726"/>
                </a:moveTo>
                <a:lnTo>
                  <a:pt x="8262082" y="6589123"/>
                </a:lnTo>
                <a:lnTo>
                  <a:pt x="8288526" y="6589123"/>
                </a:lnTo>
                <a:lnTo>
                  <a:pt x="8273962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0" y="6661564"/>
                </a:lnTo>
                <a:lnTo>
                  <a:pt x="8545320" y="6629932"/>
                </a:lnTo>
                <a:lnTo>
                  <a:pt x="8554630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6" y="6554707"/>
                </a:cubicBezTo>
                <a:close/>
                <a:moveTo>
                  <a:pt x="8415495" y="6554707"/>
                </a:moveTo>
                <a:lnTo>
                  <a:pt x="8415495" y="6661470"/>
                </a:lnTo>
                <a:cubicBezTo>
                  <a:pt x="8415495" y="6661470"/>
                  <a:pt x="8435866" y="6661583"/>
                  <a:pt x="8448546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1" y="6554745"/>
                </a:cubicBezTo>
                <a:lnTo>
                  <a:pt x="8447499" y="6554707"/>
                </a:lnTo>
                <a:cubicBezTo>
                  <a:pt x="8436742" y="6554707"/>
                  <a:pt x="8415495" y="6554707"/>
                  <a:pt x="8415495" y="6554707"/>
                </a:cubicBezTo>
                <a:close/>
                <a:moveTo>
                  <a:pt x="8323900" y="6554707"/>
                </a:moveTo>
                <a:lnTo>
                  <a:pt x="8298693" y="6612649"/>
                </a:lnTo>
                <a:lnTo>
                  <a:pt x="8291858" y="6596645"/>
                </a:lnTo>
                <a:lnTo>
                  <a:pt x="8265623" y="6596645"/>
                </a:lnTo>
                <a:lnTo>
                  <a:pt x="8296942" y="6661978"/>
                </a:lnTo>
                <a:lnTo>
                  <a:pt x="8299855" y="6661978"/>
                </a:lnTo>
                <a:lnTo>
                  <a:pt x="8350593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1" y="0"/>
                </a:lnTo>
                <a:lnTo>
                  <a:pt x="9144001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2C3A686-EFBE-6E4D-8020-4014DF4E8E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5960284" cy="6857999"/>
          </a:xfrm>
          <a:custGeom>
            <a:avLst/>
            <a:gdLst>
              <a:gd name="connsiteX0" fmla="*/ 0 w 5960284"/>
              <a:gd name="connsiteY0" fmla="*/ 0 h 6857999"/>
              <a:gd name="connsiteX1" fmla="*/ 2705820 w 5960284"/>
              <a:gd name="connsiteY1" fmla="*/ 0 h 6857999"/>
              <a:gd name="connsiteX2" fmla="*/ 5960284 w 5960284"/>
              <a:gd name="connsiteY2" fmla="*/ 6857999 h 6857999"/>
              <a:gd name="connsiteX3" fmla="*/ 0 w 5960284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0284" h="6857999">
                <a:moveTo>
                  <a:pt x="0" y="0"/>
                </a:moveTo>
                <a:lnTo>
                  <a:pt x="2705820" y="0"/>
                </a:lnTo>
                <a:lnTo>
                  <a:pt x="5960284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tIns="360000" rIns="1080000" bIns="612000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ection title.</a:t>
            </a:r>
            <a:br>
              <a:rPr lang="en-US" dirty="0"/>
            </a:br>
            <a:r>
              <a:rPr lang="en-US" dirty="0"/>
              <a:t>3 lines max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EF91C03-68D7-6C4C-845D-95A60CCDC888}"/>
              </a:ext>
            </a:extLst>
          </p:cNvPr>
          <p:cNvGrpSpPr/>
          <p:nvPr userDrawn="1"/>
        </p:nvGrpSpPr>
        <p:grpSpPr>
          <a:xfrm>
            <a:off x="-256964" y="4797149"/>
            <a:ext cx="251461" cy="1365066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D7A67AD-A78D-1040-A099-19C73D75FADD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B4B5A1AF-9A26-A642-816C-7E1E37992A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ADBBC9F7-B424-1643-B930-EEF94712EBD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E56CBC82-1BDE-F540-BF3F-712FAD884E18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282B5F3-F5C3-DB4C-B743-A8A59CFF7D42}"/>
                </a:ext>
              </a:extLst>
            </p:cNvPr>
            <p:cNvSpPr txBox="1"/>
            <p:nvPr userDrawn="1"/>
          </p:nvSpPr>
          <p:spPr>
            <a:xfrm rot="16200000">
              <a:off x="-252501" y="649201"/>
              <a:ext cx="243656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798FF58-E26B-3647-BDDF-EC266BEA7328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88580BD2-46D4-6B43-BEB1-7D93D1D56918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A61082E-FFDB-C440-87DC-6022E4E82893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FD97C5F9-1BA0-4346-8BA5-61CA34B0EB56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FF29B610-1229-CE4A-AF80-53A2FAABF0E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179FAF10-6C7D-2144-8C5C-BFA813F68506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08A50BC6-41D4-CB43-B615-0CB5C5D8CB2E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AAF32C62-18B0-5A46-A72E-AB5C72B617B1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3A949284-8769-7C4A-BDA9-47BF5046975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80" name="Graphic 79">
                  <a:extLst>
                    <a:ext uri="{FF2B5EF4-FFF2-40B4-BE49-F238E27FC236}">
                      <a16:creationId xmlns:a16="http://schemas.microsoft.com/office/drawing/2014/main" id="{8963D7C6-F2C5-E849-BB93-9E88B87AA57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1" name="TextBox 80">
                  <a:extLst>
                    <a:ext uri="{FF2B5EF4-FFF2-40B4-BE49-F238E27FC236}">
                      <a16:creationId xmlns:a16="http://schemas.microsoft.com/office/drawing/2014/main" id="{85DB30AD-2EC9-DB48-BA60-31491FAC119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17B40A71-5ED2-4847-B0DF-8C7122BB42A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224A2BA9-4F1F-074F-AEA1-D6E43A8250E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0F4A1271-3D8B-3C49-A3EA-8521CBDB4AF1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C6145E2A-AB77-D243-85C2-139861D4876E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FC6A7522-6011-3549-8AE8-F95DA5F999B9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73" name="Graphic 72">
                  <a:extLst>
                    <a:ext uri="{FF2B5EF4-FFF2-40B4-BE49-F238E27FC236}">
                      <a16:creationId xmlns:a16="http://schemas.microsoft.com/office/drawing/2014/main" id="{0766D4F4-795E-5245-BF49-8D06B73BD8E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4BA13E32-1D69-6744-97E0-5693B3DE481A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75" name="Picture 74">
                  <a:extLst>
                    <a:ext uri="{FF2B5EF4-FFF2-40B4-BE49-F238E27FC236}">
                      <a16:creationId xmlns:a16="http://schemas.microsoft.com/office/drawing/2014/main" id="{62C33A3E-B57A-5249-A736-062C612AFDE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46CE5CB7-4357-AA46-858D-4971B106CB68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2CF36A7-43B8-6C4C-86FD-1CD17D70873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1A6C5B3E-7B6D-A148-861C-6ACAA92D6CA7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35B6B6EB-9B89-1347-8F1C-C198506B65AC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86D606E1-D70D-CF4E-8378-6DE1F7A17FDF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1AB01998-6407-F04E-89B6-207E3B4416D9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BF601082-8B9E-E948-93FC-DD6E8E5CABC4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713FBF07-5E2E-9142-A30C-27DB2C07E4EE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FBAAECF8-548A-DF48-864C-7FFAC7CE7E0F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4" y="6200775"/>
            <a:ext cx="2742875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E27FEE-18EA-A346-B26F-D333D09B92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4E954B-AA54-CB4A-BB91-65FA994324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BB10A8-70DC-DE4D-92FA-36863B35AB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F6510D4-5C14-4C49-9E12-FE70AD2BF8B5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065C18E-D64F-7245-813C-B6B447EDB421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395E244-87CF-F140-BD60-3FFD9A25D3E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59353F5-2397-5A4B-9D6C-2A5B382621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6A29AC13-8431-6247-9605-4DE6AC19757E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91174909-64CA-EF47-A0A7-204423290ECC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34D91FED-26CC-F144-8BF9-DB64124B41B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97B6B19F-FF08-ED4B-9CCD-CAFF7BF049B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1D02FAC6-DC5B-A746-8EF4-D6DB84FFA3D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0F36343-BBC2-4349-A0F2-4B2E7BBD79F8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BCE10A83-4DF9-CA4C-8F3D-16220DA1460D}"/>
                  </a:ext>
                </a:extLst>
              </p:cNvPr>
              <p:cNvCxnSpPr>
                <a:cxnSpLocks/>
                <a:stCxn id="51" idx="1"/>
                <a:endCxn id="86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0A539B45-3509-C647-A3C5-4AB4B3F91D32}"/>
                  </a:ext>
                </a:extLst>
              </p:cNvPr>
              <p:cNvCxnSpPr>
                <a:cxnSpLocks/>
                <a:stCxn id="51" idx="3"/>
                <a:endCxn id="86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423825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200" hasCustomPrompt="1"/>
          </p:nvPr>
        </p:nvSpPr>
        <p:spPr>
          <a:xfrm>
            <a:off x="431800" y="1233489"/>
            <a:ext cx="8280400" cy="4932362"/>
          </a:xfrm>
        </p:spPr>
        <p:txBody>
          <a:bodyPr/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3A7EDA7-F3CC-FE4B-8FF2-546BF052CA2D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32" name="Date Placeholder 31">
            <a:extLst>
              <a:ext uri="{FF2B5EF4-FFF2-40B4-BE49-F238E27FC236}">
                <a16:creationId xmlns:a16="http://schemas.microsoft.com/office/drawing/2014/main" id="{063A222F-451A-4B49-AAE6-41BBAA48AC75}"/>
              </a:ext>
            </a:extLst>
          </p:cNvPr>
          <p:cNvSpPr>
            <a:spLocks noGrp="1"/>
          </p:cNvSpPr>
          <p:nvPr userDrawn="1">
            <p:ph type="dt" sz="half" idx="10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7182972C-B32C-5242-9660-1F857E08362B}"/>
              </a:ext>
            </a:extLst>
          </p:cNvPr>
          <p:cNvSpPr>
            <a:spLocks noGrp="1"/>
          </p:cNvSpPr>
          <p:nvPr userDrawn="1">
            <p:ph type="ftr" sz="quarter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702F905D-B5C6-604B-A8D6-931CBE08DB32}"/>
              </a:ext>
            </a:extLst>
          </p:cNvPr>
          <p:cNvSpPr>
            <a:spLocks noGrp="1"/>
          </p:cNvSpPr>
          <p:nvPr userDrawn="1">
            <p:ph type="sldNum" sz="quarter" idx="10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377C8CE-D482-6D47-A000-443568B2C375}"/>
              </a:ext>
            </a:extLst>
          </p:cNvPr>
          <p:cNvGrpSpPr/>
          <p:nvPr userDrawn="1"/>
        </p:nvGrpSpPr>
        <p:grpSpPr>
          <a:xfrm>
            <a:off x="9399182" y="0"/>
            <a:ext cx="2974470" cy="6857995"/>
            <a:chOff x="9399182" y="0"/>
            <a:chExt cx="2974470" cy="685799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624552C-B575-AE4E-B90E-80386DFFD747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72577E3C-2575-9A49-8EA5-9CA05A2E3D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E2D26DA-696F-D345-B831-DB4BCF3B6E31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5C3AAD8B-698C-7A43-ABDF-294888239CF2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D824FCF-53BC-444C-88D6-38033E97AEDF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B83CA71E-B1B7-6946-92A5-BFD00A4291E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DFE6C8C-E609-C848-9C4A-7DCBDF10FCCB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459E50A-7290-8345-AB63-DF07B151FCBA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77E185E-D403-494F-AEBA-AEAB2A57C11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2707A63D-0ED3-2649-8C74-DDC556FCF5A9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97646D57-86DD-CC45-AF75-033441DEAEBB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88B63AE3-654D-E346-84F1-DE1585D6886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73FF8F45-C686-3D4E-9541-1D8727406BA0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24" name="Graphic 23">
                  <a:extLst>
                    <a:ext uri="{FF2B5EF4-FFF2-40B4-BE49-F238E27FC236}">
                      <a16:creationId xmlns:a16="http://schemas.microsoft.com/office/drawing/2014/main" id="{CB005880-BCA3-A74D-BFE6-ECE18F5208A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6D7CFF09-C588-D946-9376-69CEAE13234B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942737E0-D794-DF4D-B7C0-6CAEC1A43DF9}"/>
                  </a:ext>
                </a:extLst>
              </p:cNvPr>
              <p:cNvGrpSpPr/>
              <p:nvPr userDrawn="1"/>
            </p:nvGrpSpPr>
            <p:grpSpPr>
              <a:xfrm>
                <a:off x="9746489" y="3569700"/>
                <a:ext cx="2159761" cy="1627918"/>
                <a:chOff x="9746489" y="3617325"/>
                <a:chExt cx="2159761" cy="1627918"/>
              </a:xfrm>
            </p:grpSpPr>
            <p:pic>
              <p:nvPicPr>
                <p:cNvPr id="42" name="Picture 41">
                  <a:extLst>
                    <a:ext uri="{FF2B5EF4-FFF2-40B4-BE49-F238E27FC236}">
                      <a16:creationId xmlns:a16="http://schemas.microsoft.com/office/drawing/2014/main" id="{06E7651E-8190-B943-9721-400134189D6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6A6779F1-2A60-A14F-9868-14C42F8A787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04D2FEFE-94D7-2F4D-B902-718C10873F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BFD489AF-FA3E-5644-86FC-3A5B05E7B94F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3828243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B0708852-B6D4-5043-86A8-0181B47AF502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4721742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90F7566-5DFC-224D-B550-F17C772A4956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740B4C7C-60B8-0147-B275-9FA9F934BCF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F0185F31-1C0F-C84F-82F7-CDE92D5E8462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D7D6324-A232-CF4B-A35D-7883E63DC01B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53860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DACB142-1234-41D1-A255-A168CB3FBFEC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68589F60-2D66-4B46-AE58-9B3DF45E0D04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2FD0186C-A219-4155-8D46-C05A3751B2ED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37" name="Rectangle 36">
                    <a:extLst>
                      <a:ext uri="{FF2B5EF4-FFF2-40B4-BE49-F238E27FC236}">
                        <a16:creationId xmlns:a16="http://schemas.microsoft.com/office/drawing/2014/main" id="{5F54F593-ABB9-4B7D-9C12-B4429591BE5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8" name="TextBox 37">
                    <a:extLst>
                      <a:ext uri="{FF2B5EF4-FFF2-40B4-BE49-F238E27FC236}">
                        <a16:creationId xmlns:a16="http://schemas.microsoft.com/office/drawing/2014/main" id="{A62EE7AD-C4E7-4E65-AECC-33E75355E5A7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0" name="TextBox 39">
                    <a:extLst>
                      <a:ext uri="{FF2B5EF4-FFF2-40B4-BE49-F238E27FC236}">
                        <a16:creationId xmlns:a16="http://schemas.microsoft.com/office/drawing/2014/main" id="{93DB76AE-3F4F-4A19-B966-91F70FF0FAD9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36" name="Graphic 35">
                  <a:extLst>
                    <a:ext uri="{FF2B5EF4-FFF2-40B4-BE49-F238E27FC236}">
                      <a16:creationId xmlns:a16="http://schemas.microsoft.com/office/drawing/2014/main" id="{32568DFB-2F01-47B2-BE59-F2DE9D0149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29414905-E52D-4947-8B5C-2CE4F2F3689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4361360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Half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431802" y="1233489"/>
            <a:ext cx="4008676" cy="4932362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4703522" y="1233489"/>
            <a:ext cx="4008676" cy="4932362"/>
          </a:xfrm>
        </p:spPr>
        <p:txBody>
          <a:bodyPr/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E28BACC-E012-5845-9150-E5A3C25B9534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B1449A-BA8C-D548-BDE3-4E5DB13EB4C8}"/>
              </a:ext>
            </a:extLst>
          </p:cNvPr>
          <p:cNvSpPr>
            <a:spLocks noGrp="1"/>
          </p:cNvSpPr>
          <p:nvPr userDrawn="1"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94ECBB0-4C58-4248-88F3-5F92A8649EA9}"/>
              </a:ext>
            </a:extLst>
          </p:cNvPr>
          <p:cNvSpPr>
            <a:spLocks noGrp="1"/>
          </p:cNvSpPr>
          <p:nvPr userDrawn="1"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418348-A4D7-7641-8A84-204A8DF8E9D7}"/>
              </a:ext>
            </a:extLst>
          </p:cNvPr>
          <p:cNvSpPr>
            <a:spLocks noGrp="1"/>
          </p:cNvSpPr>
          <p:nvPr userDrawn="1">
            <p:ph type="sldNum" sz="quarter" idx="10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C7FC7CE-B15F-F745-8154-60A1C696F9B7}"/>
              </a:ext>
            </a:extLst>
          </p:cNvPr>
          <p:cNvGrpSpPr/>
          <p:nvPr userDrawn="1"/>
        </p:nvGrpSpPr>
        <p:grpSpPr>
          <a:xfrm>
            <a:off x="9399182" y="0"/>
            <a:ext cx="2974470" cy="6857995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8A847F87-2150-EA49-BACD-C88E74E36228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84786FF-44DA-8942-AB70-199CB8C73F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1246D9CC-B5D1-9141-A99F-B466C0533950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3EE65CCC-707A-BC48-BAF5-F4FFCCAB75FD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4A238499-0695-AA45-AE43-E6D4AD9610FC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981EAC90-1E7B-0348-8A3C-9AD9FAF0B4B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3779B09-2A6B-C747-8C57-F1F407A4B659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87C1A6A5-EE75-EB45-8D57-7B217603478E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38172E64-DDB3-014D-9BB1-603E952617C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ECEE6EB4-DE30-514B-B6A3-3CF197624EFC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E539A361-27B7-D34B-A5DC-F58AB8141554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E44AAA1A-A914-804E-98F6-7D89DE0BB22D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C0F5BD81-802D-0E4D-A7B0-7F7C27BE43B6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A7FCA15E-0B61-1A42-A94F-23368608B9D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A7EA1EAA-12F2-004D-A670-BFF2541E281C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6E685023-D799-A446-B8B0-A1B4CC6EBF17}"/>
                  </a:ext>
                </a:extLst>
              </p:cNvPr>
              <p:cNvGrpSpPr/>
              <p:nvPr userDrawn="1"/>
            </p:nvGrpSpPr>
            <p:grpSpPr>
              <a:xfrm>
                <a:off x="9746489" y="3569700"/>
                <a:ext cx="2159761" cy="1627918"/>
                <a:chOff x="9746489" y="3617325"/>
                <a:chExt cx="2159761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014C2F62-0D18-A443-8AAC-9A6BAC77A72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89C34461-EDC8-EB46-B055-2D682CC58AE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1763CD67-A109-A648-846D-0CBD5489CFB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5332DBA4-4E50-364A-B42D-7EDC1A5B2469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3828243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DFDB09D6-5413-4249-98C0-1E8BC9A27D29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4721742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99F8CE38-B0AB-984C-BF06-16DD7A8FA458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F61BB896-8775-B54F-BD43-80E54D657CF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77532585-4CE3-144A-AC32-AC8F9F388B1F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20A5AF3B-C55E-884F-BD62-37B268182CF4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53860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EF138706-C32E-8B49-8A86-C08263C6034E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C3A738B4-E773-1349-ACD6-77F632243404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EB49EA4A-5705-D54A-B343-E9468BB70060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7034A0E3-E3C6-D747-A54F-AB0BDA44AF9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E4772BEC-83FF-0347-84F5-613E17F42F3F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71AC6B17-22B5-BE49-9E2E-28CC5DEC074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10C7229D-CD30-0341-A496-C567041270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BA66D612-22B5-4045-8D31-CFB640573F9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2477845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431782" y="1233489"/>
            <a:ext cx="2624396" cy="4932362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3319222" y="1233489"/>
            <a:ext cx="5392978" cy="4932362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62E1D57E-789F-C049-AE21-2FFE596AF372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2187D9-7A64-FD43-ADB5-4358998A306C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8C3426B-A824-D843-A346-B1AED40F1EE6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EF4742-1840-4A4C-9C79-0ABDE7122DD2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02E2498-FF17-AD4D-A16F-D0555843F7FF}"/>
              </a:ext>
            </a:extLst>
          </p:cNvPr>
          <p:cNvGrpSpPr/>
          <p:nvPr userDrawn="1"/>
        </p:nvGrpSpPr>
        <p:grpSpPr>
          <a:xfrm>
            <a:off x="9399182" y="0"/>
            <a:ext cx="2974470" cy="6857995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5F50887-8E70-CC4F-AFF3-470F73E7BC52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FC0C9224-1E37-2F47-BE66-AAF75896A7C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FD959D5-EFA2-5E49-83C2-CEDE37065FA6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D2F6A44-5F00-9545-A4B1-A0061FAE7EC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C1984AA3-39E3-1C43-94A9-34B5E13FF32E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5235A41A-9B24-9F4B-BF59-14675BCD059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3477A72-0C5E-0043-8585-DDE93406C932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E62F6452-A2BE-7C46-A9CC-5C38489C5CE5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18AD7F99-B11F-D249-9E19-51930334CF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BE17943-B901-2F45-83EC-CAE55A3C5AB3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3A282DBC-97A0-A74F-A322-83F38647E311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C6F30183-1D7E-1F46-8A9A-D436E42146F3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6F8134E9-C165-374B-B2CC-DA494A389F22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C0716B58-8AB2-BB4E-BF02-075C7AB5645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55F8E9FF-CF75-2441-B304-D1744649013E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2514B6E7-6F9E-A74E-B185-C746F5D312F2}"/>
                  </a:ext>
                </a:extLst>
              </p:cNvPr>
              <p:cNvGrpSpPr/>
              <p:nvPr userDrawn="1"/>
            </p:nvGrpSpPr>
            <p:grpSpPr>
              <a:xfrm>
                <a:off x="9746489" y="3569700"/>
                <a:ext cx="2159761" cy="1627918"/>
                <a:chOff x="9746489" y="3617325"/>
                <a:chExt cx="2159761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2D8F5DB2-9D62-B645-815C-A05F1A64837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A56B34A5-5FAB-1849-B932-0B65D3EFFC4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CDAE0E52-76E3-E948-A240-86DD232545E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992960CE-C925-D541-B244-F39F12711B9D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3828243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7C97C986-8A69-3440-8F48-A9A0634AD1BF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4721742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847F9F1F-5251-9246-AD4B-01B5FA9CC1BA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56B31BB5-7D6D-F54A-9773-EF4DBD16FF8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FE597D3D-3AFC-BB47-B8CF-8E6C98E82881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03DA12D-0274-1F49-B336-BD4025C49C63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53860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5FA5060-5E13-4543-9377-154ADBB0E82F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4671AB2B-235C-C341-8881-9BBB69C9598E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4F1C356B-DB7D-4D4F-911D-77E8C771B88B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224311F3-D9B7-5B40-8F89-C14B83BC50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C3DAD1A5-A5DD-A047-83FC-B9B82F152CD4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7A43B794-8CF2-3241-85CE-3E267DC2FAF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ADA4F7D3-514B-1146-9B32-81A73DC690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D7DD7A1E-5F73-B04D-BD86-83D0E922658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781373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431800" y="1233489"/>
            <a:ext cx="5392800" cy="4932362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6087800" y="1233489"/>
            <a:ext cx="2624400" cy="4932362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A06382-4F71-2D43-8F90-DF79864310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423038"/>
            <a:ext cx="8280400" cy="567394"/>
          </a:xfrm>
        </p:spPr>
        <p:txBody>
          <a:bodyPr/>
          <a:lstStyle/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E8C1E42E-F316-CC44-8C90-6889E7665123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5F05EE9-0A3D-4749-B2F6-14D0C82A14DD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1F5980-B10D-114E-B46C-229352D8D586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5D4DBE6-2175-B24F-A643-B8DBBCA00583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C57F764-75F4-CB41-BEB8-84C2645F5FB5}"/>
              </a:ext>
            </a:extLst>
          </p:cNvPr>
          <p:cNvGrpSpPr/>
          <p:nvPr userDrawn="1"/>
        </p:nvGrpSpPr>
        <p:grpSpPr>
          <a:xfrm>
            <a:off x="9399182" y="0"/>
            <a:ext cx="2974470" cy="6857995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D36F087-817A-684A-AB3B-76BDBCFE257F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C828127C-A9D1-354F-8510-197876AAA7B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3C0B752-B659-F14D-9656-D25E78B5C3F2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66AD7EA4-AF8A-5347-A757-7E9A352EED38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55F5882A-2175-4A43-B444-2BF2F22F4BED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CB69B195-59C0-0D4B-97BF-154377BD5A8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8E499ACE-87E3-FC46-A481-D32CA8F2DFCF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8226064C-7D82-F047-9BD7-219F92F5ED1A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BB238369-EA71-3742-8840-9462B586DE8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8621C79-5C28-CD4C-9CC6-788DF5AD31B8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450E4076-2883-BA42-81BF-18827567A894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2CBF7FA1-24C1-1A47-A5B7-071E723219F8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C39DC11C-0628-054E-A8B3-C3C8217A6CB3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301F6881-300A-A146-99A9-BD99ACCB3DB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AC51286F-DEF1-2B4D-93DB-F3076A2611C0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3321F084-532D-124B-A03C-154D91D8F45F}"/>
                  </a:ext>
                </a:extLst>
              </p:cNvPr>
              <p:cNvGrpSpPr/>
              <p:nvPr userDrawn="1"/>
            </p:nvGrpSpPr>
            <p:grpSpPr>
              <a:xfrm>
                <a:off x="9746489" y="3569700"/>
                <a:ext cx="2159761" cy="1627918"/>
                <a:chOff x="9746489" y="3617325"/>
                <a:chExt cx="2159761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BBFF6EA2-7DDD-534F-8411-25FCA9D0E1E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0E34E07D-3DF6-3745-9646-0A46DDF96B0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8B1725E8-9C83-F844-A798-4509B80E08F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1CB723A7-162A-F54C-BC8B-5F48D8109783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3828243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359BA5AE-3310-1847-9BF2-3A989E221789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4721742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AA1C27C4-CD80-3246-98DD-15A2D88DC926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2593E019-CA82-1040-9996-4316BF793D5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B3BC7102-822A-7D41-95D1-B0286E842E03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5628D1D-267F-294B-B368-A4FBEC0A170D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53860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1250C1D0-82B5-D54D-8DCC-BA78579053DD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A36D5FBC-C765-2B4D-88DB-68244F94A3DE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EA00EDAC-D16A-3A4C-888F-638F125A43EF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405BBDC5-B3B3-E149-B4C1-2245D126623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E0171319-10F3-5B45-B320-E73A6292A6E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3E27D3AE-33D1-7D4E-9E3A-0EECAC2B2E50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F5440D1A-C837-814E-91DD-BDB8325D43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C081CC70-A1B7-FB4B-975F-E36A3BAEEF6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20411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Stack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7070C02-8D3D-AA4B-B6D3-432E3D380E3C}"/>
              </a:ext>
            </a:extLst>
          </p:cNvPr>
          <p:cNvSpPr>
            <a:spLocks noGrp="1"/>
          </p:cNvSpPr>
          <p:nvPr>
            <p:ph sz="quarter" idx="104" hasCustomPrompt="1"/>
          </p:nvPr>
        </p:nvSpPr>
        <p:spPr>
          <a:xfrm>
            <a:off x="431802" y="1233488"/>
            <a:ext cx="8280398" cy="2381499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6" name="Content Placeholder 13">
            <a:extLst>
              <a:ext uri="{FF2B5EF4-FFF2-40B4-BE49-F238E27FC236}">
                <a16:creationId xmlns:a16="http://schemas.microsoft.com/office/drawing/2014/main" id="{D893719C-09E6-8446-95C5-B4FC163CB027}"/>
              </a:ext>
            </a:extLst>
          </p:cNvPr>
          <p:cNvSpPr>
            <a:spLocks noGrp="1"/>
          </p:cNvSpPr>
          <p:nvPr>
            <p:ph sz="quarter" idx="105" hasCustomPrompt="1"/>
          </p:nvPr>
        </p:nvSpPr>
        <p:spPr>
          <a:xfrm>
            <a:off x="431802" y="3784351"/>
            <a:ext cx="8280398" cy="2381499"/>
          </a:xfrm>
        </p:spPr>
        <p:txBody>
          <a:bodyPr/>
          <a:lstStyle/>
          <a:p>
            <a:pPr lvl="0"/>
            <a:r>
              <a:rPr lang="en-US" dirty="0"/>
              <a:t>Click to add text, or use the icon to add a table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4A06038C-128D-734E-9D80-8DBA43C1A8F8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2CC4C5-26A5-4F45-BB5F-846EFE4C15E8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EC332D7-9604-5C49-9FCA-6EED3EB703A5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2381C1A-6FC0-BF4F-8124-7B7DCAB4EE32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D404F43-75AD-CE4A-A7B8-A9E3FF14D26D}"/>
              </a:ext>
            </a:extLst>
          </p:cNvPr>
          <p:cNvGrpSpPr/>
          <p:nvPr userDrawn="1"/>
        </p:nvGrpSpPr>
        <p:grpSpPr>
          <a:xfrm>
            <a:off x="9399182" y="0"/>
            <a:ext cx="2974470" cy="6857995"/>
            <a:chOff x="9399182" y="0"/>
            <a:chExt cx="2974470" cy="685799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1014F8BC-C417-2D44-A2FC-282CC7C25B35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68579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5C16C39-1CD8-AA44-89DD-0FA2F2460F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7A7AD89C-ED0F-1B48-B39F-C037B93F2E6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F235AC39-43AE-6F40-AB10-243ECD167CED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3D35AB1B-2CF2-9747-BA0D-43B811696209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8C7C35E0-1DE8-244B-961E-FE49AB67FB0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CAAD5832-1ACD-084B-A42D-A8C00D8AAA8B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76712AB1-475C-5B42-87BD-53A6197FA783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4F5BD1A5-A975-234B-A289-B0633D1C295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C8881626-21AA-D14A-AD25-7121DF34EC26}"/>
                </a:ext>
              </a:extLst>
            </p:cNvPr>
            <p:cNvGrpSpPr/>
            <p:nvPr userDrawn="1"/>
          </p:nvGrpSpPr>
          <p:grpSpPr>
            <a:xfrm>
              <a:off x="9554253" y="3678850"/>
              <a:ext cx="2735151" cy="2655095"/>
              <a:chOff x="9541497" y="2555080"/>
              <a:chExt cx="2735151" cy="2655095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30746657-077C-3546-9563-5E5BA10BE248}"/>
                  </a:ext>
                </a:extLst>
              </p:cNvPr>
              <p:cNvGrpSpPr/>
              <p:nvPr userDrawn="1"/>
            </p:nvGrpSpPr>
            <p:grpSpPr>
              <a:xfrm>
                <a:off x="9541497" y="2555080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D68127FC-49D0-D74A-9EA8-442E1736CB3A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D7249D72-5168-BB4C-87A9-96903DE73F6A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19B19338-5CD2-7648-ABBF-92C68606669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3D7DE9F1-D936-D241-897F-E8C3A31F4213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9095461C-201B-214E-A77B-60BAC311D272}"/>
                  </a:ext>
                </a:extLst>
              </p:cNvPr>
              <p:cNvGrpSpPr/>
              <p:nvPr userDrawn="1"/>
            </p:nvGrpSpPr>
            <p:grpSpPr>
              <a:xfrm>
                <a:off x="9746489" y="3569700"/>
                <a:ext cx="2159761" cy="1627918"/>
                <a:chOff x="9746489" y="3617325"/>
                <a:chExt cx="2159761" cy="1627918"/>
              </a:xfrm>
            </p:grpSpPr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EB575104-562F-004A-B326-7B5EEDC843A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2D863755-CBBC-8B48-BCB9-6BB775EA83E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711D527A-AE54-1F49-9DBB-C3CD78A4EDF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69096FA6-8848-D14E-8857-EF56C7EEAFD3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3828243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0A6361FD-3788-164D-82B1-B50A51D5C49E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4721742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B28497C-1EBC-4146-9C10-1FA4511A8EB1}"/>
                </a:ext>
              </a:extLst>
            </p:cNvPr>
            <p:cNvGrpSpPr/>
            <p:nvPr userDrawn="1"/>
          </p:nvGrpSpPr>
          <p:grpSpPr>
            <a:xfrm>
              <a:off x="9558506" y="2409506"/>
              <a:ext cx="2639327" cy="684608"/>
              <a:chOff x="9558506" y="2476806"/>
              <a:chExt cx="2639327" cy="684608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2C8A9567-D498-4E43-A058-AB8CDFBD67C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23484"/>
              <a:stretch/>
            </p:blipFill>
            <p:spPr>
              <a:xfrm>
                <a:off x="10441172" y="2476806"/>
                <a:ext cx="1756661" cy="684608"/>
              </a:xfrm>
              <a:prstGeom prst="rect">
                <a:avLst/>
              </a:prstGeom>
            </p:spPr>
          </p:pic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0AE214B1-0405-3F44-B02A-A17F031B193F}"/>
                  </a:ext>
                </a:extLst>
              </p:cNvPr>
              <p:cNvSpPr/>
              <p:nvPr userDrawn="1"/>
            </p:nvSpPr>
            <p:spPr>
              <a:xfrm>
                <a:off x="9558506" y="2476806"/>
                <a:ext cx="882666" cy="684608"/>
              </a:xfrm>
              <a:prstGeom prst="rect">
                <a:avLst/>
              </a:prstGeom>
              <a:solidFill>
                <a:schemeClr val="bg2">
                  <a:alpha val="1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031FC06-07C2-F944-B3D7-5948AB3601DB}"/>
                  </a:ext>
                </a:extLst>
              </p:cNvPr>
              <p:cNvSpPr txBox="1"/>
              <p:nvPr userDrawn="1"/>
            </p:nvSpPr>
            <p:spPr>
              <a:xfrm>
                <a:off x="9635558" y="2549805"/>
                <a:ext cx="676269" cy="53860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Note: </a:t>
                </a:r>
                <a:b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</a:br>
                <a:r>
                  <a:rPr lang="en-US" sz="700" kern="1200" dirty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rPr>
                  <a:t>For numbered lists, see the most up-to-date Asset File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535732C-1E13-4C4A-B787-AE24B4A3C9B4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B88CD7CA-DBA3-C14E-A359-502F7DC9E08F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8A62CE80-1DCA-2E41-A9A2-0FBB26DC2E37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id="{6B01E16F-8D56-AD42-BF0C-1B00F9E3334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" name="TextBox 47">
                    <a:extLst>
                      <a:ext uri="{FF2B5EF4-FFF2-40B4-BE49-F238E27FC236}">
                        <a16:creationId xmlns:a16="http://schemas.microsoft.com/office/drawing/2014/main" id="{301AE0C3-91EA-2D43-B520-2DB261739B44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49" name="TextBox 48">
                    <a:extLst>
                      <a:ext uri="{FF2B5EF4-FFF2-40B4-BE49-F238E27FC236}">
                        <a16:creationId xmlns:a16="http://schemas.microsoft.com/office/drawing/2014/main" id="{1BAA935D-EF18-3C4F-87C9-9936893F982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46" name="Graphic 45">
                  <a:extLst>
                    <a:ext uri="{FF2B5EF4-FFF2-40B4-BE49-F238E27FC236}">
                      <a16:creationId xmlns:a16="http://schemas.microsoft.com/office/drawing/2014/main" id="{DA1AD802-82D2-EE49-8DC0-E5CFC77362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59B2C3CC-42E2-6D46-BF1D-66B0986526F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9467284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6" name="Chart Placeholder 2">
            <a:extLst>
              <a:ext uri="{FF2B5EF4-FFF2-40B4-BE49-F238E27FC236}">
                <a16:creationId xmlns:a16="http://schemas.microsoft.com/office/drawing/2014/main" id="{A52282EC-86DC-8D43-96A4-DCB61C454A07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799" y="1735138"/>
            <a:ext cx="8280399" cy="4430712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A5DCE5DD-26A8-1F44-AB0E-1108C6B2C62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32E292F-93E5-C544-8958-CDEDEB71F002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0" y="1224318"/>
            <a:ext cx="1904367" cy="3869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Chart subtitle (second level)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6A3C5DB-48EB-1C41-B49E-663E78CA9D9E}"/>
              </a:ext>
            </a:extLst>
          </p:cNvPr>
          <p:cNvGrpSpPr/>
          <p:nvPr userDrawn="1"/>
        </p:nvGrpSpPr>
        <p:grpSpPr>
          <a:xfrm>
            <a:off x="9399182" y="-1"/>
            <a:ext cx="2961715" cy="6989737"/>
            <a:chOff x="9399182" y="-1"/>
            <a:chExt cx="2961715" cy="698973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DEE0A41-E466-6241-9EE4-211BECC9E5B4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98973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052E85D3-7D4D-1245-9994-C9F23EA78BC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188577A-9C5E-3441-8977-05779AF7AFFB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D2D2C92-2EB0-D842-80AE-BDB0B6BE7B3C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78C5C3D8-B1F5-7049-B564-458BB9066277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823A8AA4-5D28-EE4F-A6FA-701C10701D7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F14184C-17A3-1E43-9FDB-63D39103AC76}"/>
                </a:ext>
              </a:extLst>
            </p:cNvPr>
            <p:cNvGrpSpPr/>
            <p:nvPr userDrawn="1"/>
          </p:nvGrpSpPr>
          <p:grpSpPr>
            <a:xfrm>
              <a:off x="9521833" y="5769065"/>
              <a:ext cx="2676002" cy="1052731"/>
              <a:chOff x="9521833" y="2036288"/>
              <a:chExt cx="2676002" cy="1052731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9AE1D20-8CAB-A84B-93C0-DD3E85791803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13288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DF9304E6-DDDD-074C-9CA1-3FF397E8A43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7FD474BE-600B-C34D-BDE1-0491BC172E2E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484748"/>
                <a:chOff x="12352022" y="513115"/>
                <a:chExt cx="2557391" cy="484748"/>
              </a:xfrm>
            </p:grpSpPr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0C88436B-93D8-554A-B5CD-918E7F26680E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AEF79A20-3A24-A548-BB43-C0356B3E259D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4847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Open the </a:t>
                  </a:r>
                  <a:r>
                    <a:rPr lang="en-US" b="1" dirty="0"/>
                    <a:t>VEDP Template Assets file </a:t>
                  </a:r>
                  <a:r>
                    <a:rPr lang="en-US" dirty="0"/>
                    <a:t>and copy the desired chart type into your presentation.</a:t>
                  </a:r>
                </a:p>
              </p:txBody>
            </p:sp>
          </p:grp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E8E16A0-1C23-7C47-A1F5-A2C39F078AEA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3CAB352-C374-234F-BB73-257B0657FFA7}"/>
                </a:ext>
              </a:extLst>
            </p:cNvPr>
            <p:cNvSpPr txBox="1"/>
            <p:nvPr userDrawn="1"/>
          </p:nvSpPr>
          <p:spPr>
            <a:xfrm>
              <a:off x="9558507" y="2034287"/>
              <a:ext cx="205665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C19D179F-1619-3041-9EA0-F999842F67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23690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B288DF0-7D33-E140-8D7C-8C53D4D2F2B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38443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3AA5595-3102-C444-9F60-386BB986D435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11148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012B9C1-AB90-A243-A8E5-BF0E3C62F730}"/>
                </a:ext>
              </a:extLst>
            </p:cNvPr>
            <p:cNvSpPr txBox="1"/>
            <p:nvPr userDrawn="1"/>
          </p:nvSpPr>
          <p:spPr>
            <a:xfrm>
              <a:off x="9686426" y="2359407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Select the chart placeholder and then paste your existing chart.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32CD633-A48D-A745-9BD0-9E3BD2BB3D7B}"/>
                </a:ext>
              </a:extLst>
            </p:cNvPr>
            <p:cNvSpPr txBox="1"/>
            <p:nvPr userDrawn="1"/>
          </p:nvSpPr>
          <p:spPr>
            <a:xfrm>
              <a:off x="9686426" y="3088613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Right-click on the chart and choose “Change Chart Type…”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0654DE4-AAA0-EA42-9B5D-4772B2BF09B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357447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DDF1272-B825-C44D-A05D-B7B4B9F4EE42}"/>
                </a:ext>
              </a:extLst>
            </p:cNvPr>
            <p:cNvSpPr txBox="1"/>
            <p:nvPr userDrawn="1"/>
          </p:nvSpPr>
          <p:spPr>
            <a:xfrm>
              <a:off x="9686426" y="3551603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hoose one of the VEDP chart styles from the ‘Templates’ category.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358145A-52DB-874A-A52C-73CB4F645F5D}"/>
                </a:ext>
              </a:extLst>
            </p:cNvPr>
            <p:cNvSpPr txBox="1"/>
            <p:nvPr userDrawn="1"/>
          </p:nvSpPr>
          <p:spPr>
            <a:xfrm>
              <a:off x="9674268" y="2722629"/>
              <a:ext cx="2297650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6FFEFAB-2135-954C-BE19-7078E19E9F13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18B4290E-B21A-F749-A231-9A6AC889777F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FB79B68-3EBE-714A-B5BA-1F4586A34CD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646EFCF-19A2-C542-B0AF-E4058343FBE8}"/>
                </a:ext>
              </a:extLst>
            </p:cNvPr>
            <p:cNvGrpSpPr/>
            <p:nvPr userDrawn="1"/>
          </p:nvGrpSpPr>
          <p:grpSpPr>
            <a:xfrm>
              <a:off x="9541497" y="4046193"/>
              <a:ext cx="2735151" cy="1533198"/>
              <a:chOff x="9296567" y="4910412"/>
              <a:chExt cx="2735151" cy="1533198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A9C96D50-537F-644A-B8A7-9E284B5D2CAF}"/>
                  </a:ext>
                </a:extLst>
              </p:cNvPr>
              <p:cNvSpPr/>
              <p:nvPr userDrawn="1"/>
            </p:nvSpPr>
            <p:spPr>
              <a:xfrm>
                <a:off x="9296567" y="4910412"/>
                <a:ext cx="2735151" cy="153319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60BEC074-7574-D843-A815-FDC7A3F8DE13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42" name="Graphic 41">
                <a:extLst>
                  <a:ext uri="{FF2B5EF4-FFF2-40B4-BE49-F238E27FC236}">
                    <a16:creationId xmlns:a16="http://schemas.microsoft.com/office/drawing/2014/main" id="{6206800A-4989-A74C-8790-A0DBC0071B0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652EE101-17F5-7E45-B4FB-A67BC514186C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96539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dirty="0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dirty="0"/>
                  <a:t>Right-click the chart and choose</a:t>
                </a:r>
                <a:br>
                  <a:rPr lang="en-US" dirty="0"/>
                </a:br>
                <a:r>
                  <a:rPr lang="en-US" dirty="0"/>
                  <a:t>“Change Chart Type”</a:t>
                </a:r>
              </a:p>
              <a:p>
                <a:pPr lvl="1"/>
                <a:r>
                  <a:rPr lang="en-US" dirty="0"/>
                  <a:t>Then choose the matching VEDP chart style from the ‘Templates’ category.</a:t>
                </a:r>
              </a:p>
            </p:txBody>
          </p:sp>
        </p:grp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C2C27D-9DE3-5A46-AF41-ABB478805204}"/>
              </a:ext>
            </a:extLst>
          </p:cNvPr>
          <p:cNvSpPr>
            <a:spLocks noGrp="1"/>
          </p:cNvSpPr>
          <p:nvPr userDrawn="1">
            <p:ph type="dt" sz="half" idx="1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636EAF-4BEC-1741-AAE3-F6127A0777EA}"/>
              </a:ext>
            </a:extLst>
          </p:cNvPr>
          <p:cNvSpPr>
            <a:spLocks noGrp="1"/>
          </p:cNvSpPr>
          <p:nvPr userDrawn="1">
            <p:ph type="ftr" sz="quarter" idx="1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CFEAC8D-B87E-434B-B0C2-7C4783B1F6D9}"/>
              </a:ext>
            </a:extLst>
          </p:cNvPr>
          <p:cNvSpPr>
            <a:spLocks noGrp="1"/>
          </p:cNvSpPr>
          <p:nvPr userDrawn="1">
            <p:ph type="sldNum" sz="quarter" idx="116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6108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D4B8862-A567-3B46-B0C3-394F4DE43C21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800" y="1735138"/>
            <a:ext cx="4008438" cy="4430712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2">
            <a:extLst>
              <a:ext uri="{FF2B5EF4-FFF2-40B4-BE49-F238E27FC236}">
                <a16:creationId xmlns:a16="http://schemas.microsoft.com/office/drawing/2014/main" id="{F6E3593A-EC32-4649-9755-E1EA347597A8}"/>
              </a:ext>
            </a:extLst>
          </p:cNvPr>
          <p:cNvSpPr>
            <a:spLocks noGrp="1"/>
          </p:cNvSpPr>
          <p:nvPr>
            <p:ph type="chart" sz="quarter" idx="114"/>
          </p:nvPr>
        </p:nvSpPr>
        <p:spPr>
          <a:xfrm>
            <a:off x="4698906" y="1735138"/>
            <a:ext cx="4008438" cy="4430712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4A426F11-55A1-3946-8771-D8A379B5AD5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7892DA04-F4A9-2044-B9E5-08BCF731816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0" y="1224318"/>
            <a:ext cx="1904367" cy="3869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Chart subtitle (second level)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FC379CB5-F96A-5A41-ABCB-0A7229FB240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4698906" y="1224318"/>
            <a:ext cx="1904367" cy="3869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Chart subtitle (second lev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79AB29-F3FD-6B4D-AB9C-5B22D89A0EA3}"/>
              </a:ext>
            </a:extLst>
          </p:cNvPr>
          <p:cNvSpPr>
            <a:spLocks noGrp="1"/>
          </p:cNvSpPr>
          <p:nvPr>
            <p:ph type="dt" sz="half" idx="1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8E7724-1686-F747-8D1B-1AB14F556771}"/>
              </a:ext>
            </a:extLst>
          </p:cNvPr>
          <p:cNvSpPr>
            <a:spLocks noGrp="1"/>
          </p:cNvSpPr>
          <p:nvPr>
            <p:ph type="ftr" sz="quarter" idx="1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560BD8-BC0B-DB45-8951-391197B87781}"/>
              </a:ext>
            </a:extLst>
          </p:cNvPr>
          <p:cNvSpPr>
            <a:spLocks noGrp="1"/>
          </p:cNvSpPr>
          <p:nvPr>
            <p:ph type="sldNum" sz="quarter" idx="11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83CDE6E-B074-0A42-80BB-4939BB56DB50}"/>
              </a:ext>
            </a:extLst>
          </p:cNvPr>
          <p:cNvGrpSpPr/>
          <p:nvPr userDrawn="1"/>
        </p:nvGrpSpPr>
        <p:grpSpPr>
          <a:xfrm>
            <a:off x="9399182" y="-1"/>
            <a:ext cx="2961715" cy="6989737"/>
            <a:chOff x="9399182" y="-1"/>
            <a:chExt cx="2961715" cy="6989737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021C5A3-7B0D-1847-9EF9-A3705154127E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98973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8379DC2B-3092-1142-97A8-452B83E9EE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1013161E-A1C5-5749-9CE3-F720067C884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6E6A25D8-1BC5-9B4C-8FA6-899B48E1D1CE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DE1EA92A-DBC7-B749-9767-E7B2D5BD99CA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F3C81943-C1E3-344C-9C89-756433C45B2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15CE3F5C-AE46-334A-898C-C2B42488CBAF}"/>
                </a:ext>
              </a:extLst>
            </p:cNvPr>
            <p:cNvGrpSpPr/>
            <p:nvPr userDrawn="1"/>
          </p:nvGrpSpPr>
          <p:grpSpPr>
            <a:xfrm>
              <a:off x="9521833" y="5769065"/>
              <a:ext cx="2676002" cy="1052731"/>
              <a:chOff x="9521833" y="2036288"/>
              <a:chExt cx="2676002" cy="1052731"/>
            </a:xfrm>
          </p:grpSpPr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EA92E2AA-DFD9-5A4F-AB03-5A37B9AECDF8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13288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6DEBF951-684E-EF4C-AD44-7EE3A3D737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31" name="Group 130">
                <a:extLst>
                  <a:ext uri="{FF2B5EF4-FFF2-40B4-BE49-F238E27FC236}">
                    <a16:creationId xmlns:a16="http://schemas.microsoft.com/office/drawing/2014/main" id="{B7170F64-401B-944F-BE85-D64B70491AD1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484748"/>
                <a:chOff x="12352022" y="513115"/>
                <a:chExt cx="2557391" cy="484748"/>
              </a:xfrm>
            </p:grpSpPr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C6F193A3-7D39-1C40-9C0D-B981EB530258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C7940ED9-915B-9248-BA2F-A342231D2934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4847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Open the </a:t>
                  </a:r>
                  <a:r>
                    <a:rPr lang="en-US" b="1" dirty="0"/>
                    <a:t>VEDP Template Assets file </a:t>
                  </a:r>
                  <a:r>
                    <a:rPr lang="en-US" dirty="0"/>
                    <a:t>and copy the desired chart type into your presentation.</a:t>
                  </a:r>
                </a:p>
              </p:txBody>
            </p:sp>
          </p:grp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A80FD326-85FF-264F-97DA-05F43B20FA05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43017B9-5EB5-3C43-964D-F8B34AE37A52}"/>
                </a:ext>
              </a:extLst>
            </p:cNvPr>
            <p:cNvSpPr txBox="1"/>
            <p:nvPr userDrawn="1"/>
          </p:nvSpPr>
          <p:spPr>
            <a:xfrm>
              <a:off x="9558507" y="2034287"/>
              <a:ext cx="205665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E5A28B81-D028-A442-A2BB-C885D0421B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23690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BC6B2BDC-1C6B-FF49-886E-34C4A1F31A1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38443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386F9AE4-1003-E841-B986-2DFA8186BE2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11148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1D4359D-396D-B047-8048-C51D25FF5FA9}"/>
                </a:ext>
              </a:extLst>
            </p:cNvPr>
            <p:cNvSpPr txBox="1"/>
            <p:nvPr userDrawn="1"/>
          </p:nvSpPr>
          <p:spPr>
            <a:xfrm>
              <a:off x="9686426" y="2359407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Select the chart placeholder and then paste your existing chart.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595C52D-E737-B648-97C4-D0EEE4002727}"/>
                </a:ext>
              </a:extLst>
            </p:cNvPr>
            <p:cNvSpPr txBox="1"/>
            <p:nvPr userDrawn="1"/>
          </p:nvSpPr>
          <p:spPr>
            <a:xfrm>
              <a:off x="9686426" y="3088613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Right-click on the chart and choose “Change Chart Type…”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A9B4217E-F58C-E841-B458-5948479DD205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357447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FF5E862-5288-9E4B-88AE-8C1A9F992012}"/>
                </a:ext>
              </a:extLst>
            </p:cNvPr>
            <p:cNvSpPr txBox="1"/>
            <p:nvPr userDrawn="1"/>
          </p:nvSpPr>
          <p:spPr>
            <a:xfrm>
              <a:off x="9686426" y="3551603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hoose one of the VEDP chart styles from the ‘Templates’ category.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12A69AE4-A4C6-4F4C-A368-8510B3FA8B6B}"/>
                </a:ext>
              </a:extLst>
            </p:cNvPr>
            <p:cNvSpPr txBox="1"/>
            <p:nvPr userDrawn="1"/>
          </p:nvSpPr>
          <p:spPr>
            <a:xfrm>
              <a:off x="9674268" y="2722629"/>
              <a:ext cx="2297650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D3A6EECD-3549-904A-A40E-911DC97AF001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F72EE2BF-96DA-ED48-A29C-73A7C7A51107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92BD20A-0C8C-E14A-BB7D-7F4DA53A03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CB984C52-4124-AA4D-8458-190AC08BEB6E}"/>
                </a:ext>
              </a:extLst>
            </p:cNvPr>
            <p:cNvGrpSpPr/>
            <p:nvPr userDrawn="1"/>
          </p:nvGrpSpPr>
          <p:grpSpPr>
            <a:xfrm>
              <a:off x="9541497" y="4046193"/>
              <a:ext cx="2735151" cy="1533198"/>
              <a:chOff x="9296567" y="4910412"/>
              <a:chExt cx="2735151" cy="1533198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18659A9D-C0B3-654D-927A-38F08EBCB65C}"/>
                  </a:ext>
                </a:extLst>
              </p:cNvPr>
              <p:cNvSpPr/>
              <p:nvPr userDrawn="1"/>
            </p:nvSpPr>
            <p:spPr>
              <a:xfrm>
                <a:off x="9296567" y="4910412"/>
                <a:ext cx="2735151" cy="153319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9935FD93-FA7C-9049-9D3B-CB3B8CD860B7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125" name="Graphic 124">
                <a:extLst>
                  <a:ext uri="{FF2B5EF4-FFF2-40B4-BE49-F238E27FC236}">
                    <a16:creationId xmlns:a16="http://schemas.microsoft.com/office/drawing/2014/main" id="{69667A08-748B-D846-BF72-062D307D126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AF22BED9-0030-8546-AC2B-0DC1FA590F5F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96539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dirty="0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dirty="0"/>
                  <a:t>Right-click the chart and choose</a:t>
                </a:r>
                <a:br>
                  <a:rPr lang="en-US" dirty="0"/>
                </a:br>
                <a:r>
                  <a:rPr lang="en-US" dirty="0"/>
                  <a:t>“Change Chart Type”</a:t>
                </a:r>
              </a:p>
              <a:p>
                <a:pPr lvl="1"/>
                <a:r>
                  <a:rPr lang="en-US" dirty="0"/>
                  <a:t>Then choose the matching VEDP chart style from the ‘Templates’ category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08421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 (Stack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05CE940C-B9F2-AE42-819B-CF829A76DEF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9ACEBCC-F393-B646-82A5-B2CB75AA4689}"/>
              </a:ext>
            </a:extLst>
          </p:cNvPr>
          <p:cNvSpPr>
            <a:spLocks noGrp="1"/>
          </p:cNvSpPr>
          <p:nvPr>
            <p:ph type="dt" sz="half" idx="1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29D6A6-E10B-9246-864B-9C137DCA8D15}"/>
              </a:ext>
            </a:extLst>
          </p:cNvPr>
          <p:cNvSpPr>
            <a:spLocks noGrp="1"/>
          </p:cNvSpPr>
          <p:nvPr>
            <p:ph type="ftr" sz="quarter" idx="1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7196862-C66B-EC4D-B2F4-A198A28BFE69}"/>
              </a:ext>
            </a:extLst>
          </p:cNvPr>
          <p:cNvSpPr>
            <a:spLocks noGrp="1"/>
          </p:cNvSpPr>
          <p:nvPr>
            <p:ph type="sldNum" sz="quarter" idx="114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49" name="Chart Placeholder 2">
            <a:extLst>
              <a:ext uri="{FF2B5EF4-FFF2-40B4-BE49-F238E27FC236}">
                <a16:creationId xmlns:a16="http://schemas.microsoft.com/office/drawing/2014/main" id="{A9C63DCB-B05D-3A42-BAE8-C09F0F94245E}"/>
              </a:ext>
            </a:extLst>
          </p:cNvPr>
          <p:cNvSpPr>
            <a:spLocks noGrp="1"/>
          </p:cNvSpPr>
          <p:nvPr>
            <p:ph type="chart" sz="quarter" idx="115"/>
          </p:nvPr>
        </p:nvSpPr>
        <p:spPr>
          <a:xfrm>
            <a:off x="431799" y="1735138"/>
            <a:ext cx="8280399" cy="1903758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22872042-8EC0-0742-9EC9-C351856408B1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0" y="1224318"/>
            <a:ext cx="1904367" cy="3869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Chart subtitle (second level)</a:t>
            </a:r>
          </a:p>
        </p:txBody>
      </p:sp>
      <p:sp>
        <p:nvSpPr>
          <p:cNvPr id="51" name="Chart Placeholder 2">
            <a:extLst>
              <a:ext uri="{FF2B5EF4-FFF2-40B4-BE49-F238E27FC236}">
                <a16:creationId xmlns:a16="http://schemas.microsoft.com/office/drawing/2014/main" id="{F07CF72C-8DD7-B04A-9188-E17B7FF52CC5}"/>
              </a:ext>
            </a:extLst>
          </p:cNvPr>
          <p:cNvSpPr>
            <a:spLocks noGrp="1"/>
          </p:cNvSpPr>
          <p:nvPr>
            <p:ph type="chart" sz="quarter" idx="116"/>
          </p:nvPr>
        </p:nvSpPr>
        <p:spPr>
          <a:xfrm>
            <a:off x="431799" y="4262092"/>
            <a:ext cx="8280399" cy="1903758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7C154E4E-8AF7-F747-B52D-D450E0D64EE6}"/>
              </a:ext>
            </a:extLst>
          </p:cNvPr>
          <p:cNvSpPr>
            <a:spLocks noGrp="1"/>
          </p:cNvSpPr>
          <p:nvPr>
            <p:ph type="body" sz="quarter" idx="117" hasCustomPrompt="1"/>
          </p:nvPr>
        </p:nvSpPr>
        <p:spPr>
          <a:xfrm>
            <a:off x="431800" y="3751272"/>
            <a:ext cx="1904367" cy="3869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Chart subtitle (second level)</a:t>
            </a: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FF45F03E-B96D-DA46-93C2-135BEC126798}"/>
              </a:ext>
            </a:extLst>
          </p:cNvPr>
          <p:cNvGrpSpPr/>
          <p:nvPr userDrawn="1"/>
        </p:nvGrpSpPr>
        <p:grpSpPr>
          <a:xfrm>
            <a:off x="9399182" y="-1"/>
            <a:ext cx="2961715" cy="6989737"/>
            <a:chOff x="9399182" y="-1"/>
            <a:chExt cx="2961715" cy="6989737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F1AF54F3-DBB0-5A45-A53B-FDDFA3C6506A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98973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38" name="Picture 137">
              <a:extLst>
                <a:ext uri="{FF2B5EF4-FFF2-40B4-BE49-F238E27FC236}">
                  <a16:creationId xmlns:a16="http://schemas.microsoft.com/office/drawing/2014/main" id="{504C2EE4-E1B1-A944-9395-2937A1F0585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891C199A-F431-4E48-87CD-C7E705D50D0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FD84C77A-8CD3-0944-9FF3-231D5B2738E5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96BD3459-C26E-DE41-81BE-87277B7FDDE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202313DD-B5E9-E64C-BEE6-3CD600BBB16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063D59E6-CF04-E946-8759-26CCF7BDDA32}"/>
                </a:ext>
              </a:extLst>
            </p:cNvPr>
            <p:cNvGrpSpPr/>
            <p:nvPr userDrawn="1"/>
          </p:nvGrpSpPr>
          <p:grpSpPr>
            <a:xfrm>
              <a:off x="9521833" y="5769065"/>
              <a:ext cx="2676002" cy="1052731"/>
              <a:chOff x="9521833" y="2036288"/>
              <a:chExt cx="2676002" cy="1052731"/>
            </a:xfrm>
          </p:grpSpPr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77DEAB84-5DD6-A74D-A64B-E11CE07988F5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13288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159" name="Straight Connector 158">
                <a:extLst>
                  <a:ext uri="{FF2B5EF4-FFF2-40B4-BE49-F238E27FC236}">
                    <a16:creationId xmlns:a16="http://schemas.microsoft.com/office/drawing/2014/main" id="{412CE4C5-C331-484D-A266-9A6522ACED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52A2B73E-C3A6-FD40-B1FA-0CDAC93E0949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484748"/>
                <a:chOff x="12352022" y="513115"/>
                <a:chExt cx="2557391" cy="484748"/>
              </a:xfrm>
            </p:grpSpPr>
            <p:sp>
              <p:nvSpPr>
                <p:cNvPr id="162" name="TextBox 161">
                  <a:extLst>
                    <a:ext uri="{FF2B5EF4-FFF2-40B4-BE49-F238E27FC236}">
                      <a16:creationId xmlns:a16="http://schemas.microsoft.com/office/drawing/2014/main" id="{619D7F15-706D-3F4C-A8B8-C12D5951082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63" name="TextBox 162">
                  <a:extLst>
                    <a:ext uri="{FF2B5EF4-FFF2-40B4-BE49-F238E27FC236}">
                      <a16:creationId xmlns:a16="http://schemas.microsoft.com/office/drawing/2014/main" id="{1C9CAA61-2E63-2243-9107-4A321356DB2A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4847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Open the </a:t>
                  </a:r>
                  <a:r>
                    <a:rPr lang="en-US" b="1" dirty="0"/>
                    <a:t>VEDP Template Assets file </a:t>
                  </a:r>
                  <a:r>
                    <a:rPr lang="en-US" dirty="0"/>
                    <a:t>and copy the desired chart type into your presentation.</a:t>
                  </a:r>
                </a:p>
              </p:txBody>
            </p:sp>
          </p:grp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431A03AF-2C30-0044-878E-EBA24FF0D060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9FD671FF-2D84-E843-A31C-B84F3E2677A1}"/>
                </a:ext>
              </a:extLst>
            </p:cNvPr>
            <p:cNvSpPr txBox="1"/>
            <p:nvPr userDrawn="1"/>
          </p:nvSpPr>
          <p:spPr>
            <a:xfrm>
              <a:off x="9558507" y="2034287"/>
              <a:ext cx="205665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321D4ECE-156C-684D-8E18-8D9C2BE4F5C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23690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105D3A7E-0F58-B141-BD38-F6FD34EFE53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38443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EE872CBB-A7D5-1141-9462-389457166E9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11148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379C53D1-7E7B-E646-A1F5-A3D9AFD81A13}"/>
                </a:ext>
              </a:extLst>
            </p:cNvPr>
            <p:cNvSpPr txBox="1"/>
            <p:nvPr userDrawn="1"/>
          </p:nvSpPr>
          <p:spPr>
            <a:xfrm>
              <a:off x="9686426" y="2359407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Select the chart placeholder and then paste your existing chart.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0E1634FF-BFE8-CD4B-A29B-07EF0D0A4213}"/>
                </a:ext>
              </a:extLst>
            </p:cNvPr>
            <p:cNvSpPr txBox="1"/>
            <p:nvPr userDrawn="1"/>
          </p:nvSpPr>
          <p:spPr>
            <a:xfrm>
              <a:off x="9686426" y="3088613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Right-click on the chart and choose “Change Chart Type…”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6E96A8E-58C8-284D-9D62-4C14D61A164F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357447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90BAAB41-F096-1446-AF97-DB0DF304E760}"/>
                </a:ext>
              </a:extLst>
            </p:cNvPr>
            <p:cNvSpPr txBox="1"/>
            <p:nvPr userDrawn="1"/>
          </p:nvSpPr>
          <p:spPr>
            <a:xfrm>
              <a:off x="9686426" y="3551603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hoose one of the VEDP chart styles from the ‘Templates’ category.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70745A7D-E8B1-784F-89B5-D634636CCE13}"/>
                </a:ext>
              </a:extLst>
            </p:cNvPr>
            <p:cNvSpPr txBox="1"/>
            <p:nvPr userDrawn="1"/>
          </p:nvSpPr>
          <p:spPr>
            <a:xfrm>
              <a:off x="9674268" y="2722629"/>
              <a:ext cx="2297650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BC5E24AF-445C-6747-8C45-E7E1943A07EA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E294C049-81FF-734E-A604-56C73619EC6E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57" name="Straight Connector 156">
                <a:extLst>
                  <a:ext uri="{FF2B5EF4-FFF2-40B4-BE49-F238E27FC236}">
                    <a16:creationId xmlns:a16="http://schemas.microsoft.com/office/drawing/2014/main" id="{128F855E-A066-1E41-A899-00776F75A5F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72FF89E0-A4B5-C342-9537-0A864A4B9675}"/>
                </a:ext>
              </a:extLst>
            </p:cNvPr>
            <p:cNvGrpSpPr/>
            <p:nvPr userDrawn="1"/>
          </p:nvGrpSpPr>
          <p:grpSpPr>
            <a:xfrm>
              <a:off x="9541497" y="4046193"/>
              <a:ext cx="2735151" cy="1533198"/>
              <a:chOff x="9296567" y="4910412"/>
              <a:chExt cx="2735151" cy="1533198"/>
            </a:xfrm>
          </p:grpSpPr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E4358915-BE70-7943-8C4A-25F97B1814A3}"/>
                  </a:ext>
                </a:extLst>
              </p:cNvPr>
              <p:cNvSpPr/>
              <p:nvPr userDrawn="1"/>
            </p:nvSpPr>
            <p:spPr>
              <a:xfrm>
                <a:off x="9296567" y="4910412"/>
                <a:ext cx="2735151" cy="153319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81B4C365-355F-C643-99D7-B97298FDF7DF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154" name="Graphic 153">
                <a:extLst>
                  <a:ext uri="{FF2B5EF4-FFF2-40B4-BE49-F238E27FC236}">
                    <a16:creationId xmlns:a16="http://schemas.microsoft.com/office/drawing/2014/main" id="{C6D16933-9F45-5F40-8D19-78EBF75E653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07CEA561-9614-6F48-8B85-62EE36EF46E2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96539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dirty="0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dirty="0"/>
                  <a:t>Right-click the chart and choose</a:t>
                </a:r>
                <a:br>
                  <a:rPr lang="en-US" dirty="0"/>
                </a:br>
                <a:r>
                  <a:rPr lang="en-US" dirty="0"/>
                  <a:t>“Change Chart Type”</a:t>
                </a:r>
              </a:p>
              <a:p>
                <a:pPr lvl="1"/>
                <a:r>
                  <a:rPr lang="en-US" dirty="0"/>
                  <a:t>Then choose the matching VEDP chart style from the ‘Templates’ category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65638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D4B8862-A567-3B46-B0C3-394F4DE43C21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800" y="1735138"/>
            <a:ext cx="4008438" cy="4430712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4A426F11-55A1-3946-8771-D8A379B5AD5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7892DA04-F4A9-2044-B9E5-08BCF7318160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0" y="1224318"/>
            <a:ext cx="1904367" cy="3869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Chart subtitle (second lev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79AB29-F3FD-6B4D-AB9C-5B22D89A0EA3}"/>
              </a:ext>
            </a:extLst>
          </p:cNvPr>
          <p:cNvSpPr>
            <a:spLocks noGrp="1"/>
          </p:cNvSpPr>
          <p:nvPr>
            <p:ph type="dt" sz="half" idx="1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98E7724-1686-F747-8D1B-1AB14F556771}"/>
              </a:ext>
            </a:extLst>
          </p:cNvPr>
          <p:cNvSpPr>
            <a:spLocks noGrp="1"/>
          </p:cNvSpPr>
          <p:nvPr>
            <p:ph type="ftr" sz="quarter" idx="1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7560BD8-BC0B-DB45-8951-391197B87781}"/>
              </a:ext>
            </a:extLst>
          </p:cNvPr>
          <p:cNvSpPr>
            <a:spLocks noGrp="1"/>
          </p:cNvSpPr>
          <p:nvPr>
            <p:ph type="sldNum" sz="quarter" idx="11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633058-F12A-3240-8E47-F68D49EC3AE2}"/>
              </a:ext>
            </a:extLst>
          </p:cNvPr>
          <p:cNvSpPr>
            <a:spLocks noGrp="1"/>
          </p:cNvSpPr>
          <p:nvPr userDrawn="1">
            <p:ph type="body" sz="quarter" idx="119"/>
          </p:nvPr>
        </p:nvSpPr>
        <p:spPr>
          <a:xfrm>
            <a:off x="4705400" y="1735138"/>
            <a:ext cx="4006800" cy="4430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63747D6-BC82-9944-89EC-FD8DC796135D}"/>
              </a:ext>
            </a:extLst>
          </p:cNvPr>
          <p:cNvGrpSpPr/>
          <p:nvPr userDrawn="1"/>
        </p:nvGrpSpPr>
        <p:grpSpPr>
          <a:xfrm>
            <a:off x="9399182" y="-2"/>
            <a:ext cx="2974470" cy="9791695"/>
            <a:chOff x="9399182" y="-2"/>
            <a:chExt cx="2974470" cy="9791695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021C5A3-7B0D-1847-9EF9-A3705154127E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79169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8379DC2B-3092-1142-97A8-452B83E9EE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619251"/>
              <a:ext cx="2639329" cy="522522"/>
            </a:xfrm>
            <a:prstGeom prst="rect">
              <a:avLst/>
            </a:prstGeom>
          </p:spPr>
        </p:pic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1013161E-A1C5-5749-9CE3-F720067C884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6E6A25D8-1BC5-9B4C-8FA6-899B48E1D1CE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DE1EA92A-DBC7-B749-9767-E7B2D5BD99CA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F3C81943-C1E3-344C-9C89-756433C45B2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D3A6EECD-3549-904A-A40E-911DC97AF001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F72EE2BF-96DA-ED48-A29C-73A7C7A51107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92BD20A-0C8C-E14A-BB7D-7F4DA53A03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ECFF6AF-6125-D947-8881-54BBFA9474F9}"/>
                </a:ext>
              </a:extLst>
            </p:cNvPr>
            <p:cNvGrpSpPr/>
            <p:nvPr userDrawn="1"/>
          </p:nvGrpSpPr>
          <p:grpSpPr>
            <a:xfrm>
              <a:off x="9521833" y="4842694"/>
              <a:ext cx="2754815" cy="4787509"/>
              <a:chOff x="9521833" y="2034287"/>
              <a:chExt cx="2754815" cy="4787509"/>
            </a:xfrm>
          </p:grpSpPr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15CE3F5C-AE46-334A-898C-C2B42488CBAF}"/>
                  </a:ext>
                </a:extLst>
              </p:cNvPr>
              <p:cNvGrpSpPr/>
              <p:nvPr userDrawn="1"/>
            </p:nvGrpSpPr>
            <p:grpSpPr>
              <a:xfrm>
                <a:off x="9521833" y="5769065"/>
                <a:ext cx="2676002" cy="1052731"/>
                <a:chOff x="9521833" y="2036288"/>
                <a:chExt cx="2676002" cy="1052731"/>
              </a:xfrm>
            </p:grpSpPr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EA92E2AA-DFD9-5A4F-AB03-5A37B9AECDF8}"/>
                    </a:ext>
                  </a:extLst>
                </p:cNvPr>
                <p:cNvSpPr txBox="1"/>
                <p:nvPr userDrawn="1"/>
              </p:nvSpPr>
              <p:spPr>
                <a:xfrm>
                  <a:off x="9558507" y="2036288"/>
                  <a:ext cx="1328890" cy="169277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defRPr sz="110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</a:lstStyle>
                <a:p>
                  <a:pPr lvl="0"/>
                  <a:r>
                    <a:rPr lang="en-US" dirty="0">
                      <a:solidFill>
                        <a:schemeClr val="bg1"/>
                      </a:solidFill>
                    </a:rPr>
                    <a:t>ADD A NEW CHART</a:t>
                  </a:r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6DEBF951-684E-EF4C-AD44-7EE3A3D737A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9558507" y="2238905"/>
                  <a:ext cx="2639328" cy="0"/>
                </a:xfrm>
                <a:prstGeom prst="line">
                  <a:avLst/>
                </a:prstGeom>
                <a:ln w="1905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1" name="Group 130">
                  <a:extLst>
                    <a:ext uri="{FF2B5EF4-FFF2-40B4-BE49-F238E27FC236}">
                      <a16:creationId xmlns:a16="http://schemas.microsoft.com/office/drawing/2014/main" id="{B7170F64-401B-944F-BE85-D64B70491AD1}"/>
                    </a:ext>
                  </a:extLst>
                </p:cNvPr>
                <p:cNvGrpSpPr/>
                <p:nvPr userDrawn="1"/>
              </p:nvGrpSpPr>
              <p:grpSpPr>
                <a:xfrm>
                  <a:off x="9521833" y="2361408"/>
                  <a:ext cx="2557391" cy="484748"/>
                  <a:chOff x="12352022" y="513115"/>
                  <a:chExt cx="2557391" cy="484748"/>
                </a:xfrm>
              </p:grpSpPr>
              <p:sp>
                <p:nvSpPr>
                  <p:cNvPr id="133" name="TextBox 132">
                    <a:extLst>
                      <a:ext uri="{FF2B5EF4-FFF2-40B4-BE49-F238E27FC236}">
                        <a16:creationId xmlns:a16="http://schemas.microsoft.com/office/drawing/2014/main" id="{C6F193A3-7D39-1C40-9C0D-B981EB530258}"/>
                      </a:ext>
                    </a:extLst>
                  </p:cNvPr>
                  <p:cNvSpPr txBox="1">
                    <a:spLocks noChangeAspect="1"/>
                  </p:cNvSpPr>
                  <p:nvPr/>
                </p:nvSpPr>
                <p:spPr>
                  <a:xfrm>
                    <a:off x="12352022" y="538142"/>
                    <a:ext cx="114706" cy="114706"/>
                  </a:xfrm>
                  <a:prstGeom prst="ellipse">
                    <a:avLst/>
                  </a:prstGeom>
                  <a:solidFill>
                    <a:schemeClr val="tx1">
                      <a:lumMod val="50000"/>
                      <a:lumOff val="50000"/>
                    </a:schemeClr>
                  </a:solidFill>
                </p:spPr>
                <p:txBody>
                  <a:bodyPr vert="horz" wrap="none" lIns="0" tIns="0" rIns="0" bIns="0" rtlCol="0" anchor="ctr">
                    <a:noAutofit/>
                  </a:bodyPr>
                  <a:lstStyle/>
                  <a:p>
                    <a:pPr algn="ctr"/>
                    <a:r>
                      <a:rPr lang="en-US" sz="500" dirty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1</a:t>
                    </a:r>
                  </a:p>
                </p:txBody>
              </p:sp>
              <p:sp>
                <p:nvSpPr>
                  <p:cNvPr id="134" name="TextBox 133">
                    <a:extLst>
                      <a:ext uri="{FF2B5EF4-FFF2-40B4-BE49-F238E27FC236}">
                        <a16:creationId xmlns:a16="http://schemas.microsoft.com/office/drawing/2014/main" id="{C7940ED9-915B-9248-BA2F-A342231D2934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12516615" y="513115"/>
                    <a:ext cx="2392798" cy="48474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>
                    <a:defPPr>
                      <a:defRPr lang="en-US"/>
                    </a:defPPr>
                    <a:lvl1pPr lvl="0">
                      <a:spcBef>
                        <a:spcPts val="1000"/>
                      </a:spcBef>
                      <a:spcAft>
                        <a:spcPts val="300"/>
                      </a:spcAft>
                      <a:defRPr sz="1050" b="0" cap="none" spc="0" baseline="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defRPr>
                    </a:lvl1pPr>
                    <a:lvl2pPr marL="134938" lvl="1" indent="-131763">
                      <a:lnSpc>
                        <a:spcPct val="90000"/>
                      </a:lnSpc>
                      <a:spcAft>
                        <a:spcPts val="300"/>
                      </a:spcAft>
                      <a:buFont typeface="Wingdings" pitchFamily="2" charset="2"/>
                      <a:buChar char="§"/>
                      <a:tabLst/>
                      <a:defRPr sz="900">
                        <a:solidFill>
                          <a:schemeClr val="bg1"/>
                        </a:solidFill>
                        <a:latin typeface="Arial" charset="0"/>
                        <a:ea typeface="Arial" charset="0"/>
                        <a:cs typeface="Arial" charset="0"/>
                      </a:defRPr>
                    </a:lvl2pPr>
                    <a:lvl3pPr marL="11113" lvl="2" indent="0">
                      <a:spcBef>
                        <a:spcPts val="300"/>
                      </a:spcBef>
                      <a:buFont typeface="Wingdings" pitchFamily="2" charset="2"/>
                      <a:buNone/>
                      <a:tabLst/>
                      <a:defRPr sz="800">
                        <a:solidFill>
                          <a:schemeClr val="bg1">
                            <a:lumMod val="85000"/>
                          </a:schemeClr>
                        </a:solidFill>
                      </a:defRPr>
                    </a:lvl3pPr>
                  </a:lstStyle>
                  <a:p>
                    <a:pPr lvl="0"/>
                    <a:r>
                      <a:rPr lang="en-US" dirty="0"/>
                      <a:t>Open the </a:t>
                    </a:r>
                    <a:r>
                      <a:rPr lang="en-US" b="1" dirty="0"/>
                      <a:t>VEDP Template Assets file </a:t>
                    </a:r>
                    <a:r>
                      <a:rPr lang="en-US" dirty="0"/>
                      <a:t>and copy the desired chart type into your presentation.</a:t>
                    </a:r>
                  </a:p>
                </p:txBody>
              </p:sp>
            </p:grpSp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A80FD326-85FF-264F-97DA-05F43B20FA05}"/>
                    </a:ext>
                  </a:extLst>
                </p:cNvPr>
                <p:cNvSpPr txBox="1"/>
                <p:nvPr userDrawn="1"/>
              </p:nvSpPr>
              <p:spPr>
                <a:xfrm>
                  <a:off x="9686426" y="2895120"/>
                  <a:ext cx="2120429" cy="1938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6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2"/>
                  <a:r>
                    <a:rPr lang="en-US" sz="700" dirty="0"/>
                    <a:t>These samples slide have further instructions and have been set up so you can easily edit the data.</a:t>
                  </a:r>
                </a:p>
              </p:txBody>
            </p: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643017B9-5EB5-3C43-964D-F8B34AE37A52}"/>
                  </a:ext>
                </a:extLst>
              </p:cNvPr>
              <p:cNvSpPr txBox="1"/>
              <p:nvPr userDrawn="1"/>
            </p:nvSpPr>
            <p:spPr>
              <a:xfrm>
                <a:off x="9558507" y="2034287"/>
                <a:ext cx="2056653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FORMAT AN EXISTING CHART</a:t>
                </a:r>
              </a:p>
            </p:txBody>
          </p: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E5A28B81-D028-A442-A2BB-C885D0421BA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6904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BC6B2BDC-1C6B-FF49-886E-34C4A1F31A1B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2384434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86F9AE4-1003-E841-B986-2DFA8186BE2A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3111484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81D4359D-396D-B047-8048-C51D25FF5FA9}"/>
                  </a:ext>
                </a:extLst>
              </p:cNvPr>
              <p:cNvSpPr txBox="1"/>
              <p:nvPr userDrawn="1"/>
            </p:nvSpPr>
            <p:spPr>
              <a:xfrm>
                <a:off x="9686426" y="2359407"/>
                <a:ext cx="2453290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the chart placeholder and then paste your existing chart.</a:t>
                </a: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F595C52D-E737-B648-97C4-D0EEE4002727}"/>
                  </a:ext>
                </a:extLst>
              </p:cNvPr>
              <p:cNvSpPr txBox="1"/>
              <p:nvPr userDrawn="1"/>
            </p:nvSpPr>
            <p:spPr>
              <a:xfrm>
                <a:off x="9686426" y="3088613"/>
                <a:ext cx="2453290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Right-click on the chart and choose “Change Chart Type…”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A9B4217E-F58C-E841-B458-5948479DD205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9521833" y="3574474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3</a:t>
                </a: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BFF5E862-5288-9E4B-88AE-8C1A9F992012}"/>
                  </a:ext>
                </a:extLst>
              </p:cNvPr>
              <p:cNvSpPr txBox="1"/>
              <p:nvPr userDrawn="1"/>
            </p:nvSpPr>
            <p:spPr>
              <a:xfrm>
                <a:off x="9686426" y="3551603"/>
                <a:ext cx="2453290" cy="323165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Choose one of the VEDP chart styles from the ‘Templates’ category.</a:t>
                </a:r>
              </a:p>
            </p:txBody>
          </p:sp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12A69AE4-A4C6-4F4C-A368-8510B3FA8B6B}"/>
                  </a:ext>
                </a:extLst>
              </p:cNvPr>
              <p:cNvSpPr txBox="1"/>
              <p:nvPr userDrawn="1"/>
            </p:nvSpPr>
            <p:spPr>
              <a:xfrm>
                <a:off x="9674268" y="2722629"/>
                <a:ext cx="2297650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Make sure that you have access to any linked files, or you won’t be able to apply the chart style successfully.</a:t>
                </a:r>
              </a:p>
            </p:txBody>
          </p: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CB984C52-4124-AA4D-8458-190AC08BEB6E}"/>
                  </a:ext>
                </a:extLst>
              </p:cNvPr>
              <p:cNvGrpSpPr/>
              <p:nvPr userDrawn="1"/>
            </p:nvGrpSpPr>
            <p:grpSpPr>
              <a:xfrm>
                <a:off x="9541497" y="4046193"/>
                <a:ext cx="2735151" cy="1533198"/>
                <a:chOff x="9296567" y="4910412"/>
                <a:chExt cx="2735151" cy="1533198"/>
              </a:xfrm>
            </p:grpSpPr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18659A9D-C0B3-654D-927A-38F08EBCB65C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2"/>
                  <a:ext cx="2735151" cy="153319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4" name="TextBox 123">
                  <a:extLst>
                    <a:ext uri="{FF2B5EF4-FFF2-40B4-BE49-F238E27FC236}">
                      <a16:creationId xmlns:a16="http://schemas.microsoft.com/office/drawing/2014/main" id="{9935FD93-FA7C-9049-9D3B-CB3B8CD860B7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Re-apply chart style</a:t>
                  </a:r>
                </a:p>
              </p:txBody>
            </p:sp>
            <p:pic>
              <p:nvPicPr>
                <p:cNvPr id="125" name="Graphic 124">
                  <a:extLst>
                    <a:ext uri="{FF2B5EF4-FFF2-40B4-BE49-F238E27FC236}">
                      <a16:creationId xmlns:a16="http://schemas.microsoft.com/office/drawing/2014/main" id="{69667A08-748B-D846-BF72-062D307D126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AF22BED9-0030-8546-AC2B-0DC1FA590F5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399065" cy="965392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dirty="0"/>
                    <a:t>In case of error, return legend entries, data labels, and/or chart formatting by re-applying the current VEDP chart style template.</a:t>
                  </a:r>
                </a:p>
                <a:p>
                  <a:pPr lvl="1"/>
                  <a:r>
                    <a:rPr lang="en-US" dirty="0"/>
                    <a:t>Right-click the chart and choose</a:t>
                  </a:r>
                  <a:br>
                    <a:rPr lang="en-US" dirty="0"/>
                  </a:br>
                  <a:r>
                    <a:rPr lang="en-US" dirty="0"/>
                    <a:t>“Change Chart Type”</a:t>
                  </a:r>
                </a:p>
                <a:p>
                  <a:pPr lvl="1"/>
                  <a:r>
                    <a:rPr lang="en-US" dirty="0"/>
                    <a:t>Then choose the matching VEDP chart style from the ‘Templates’ category.</a:t>
                  </a:r>
                </a:p>
              </p:txBody>
            </p:sp>
          </p:grpSp>
        </p:grp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CD6F2F4C-A392-B448-B641-E1F03F45D8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r="41694"/>
            <a:stretch/>
          </p:blipFill>
          <p:spPr>
            <a:xfrm>
              <a:off x="9558506" y="2465572"/>
              <a:ext cx="2639328" cy="995540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D6C89488-0DED-C34F-BA63-BB2306F07887}"/>
                </a:ext>
              </a:extLst>
            </p:cNvPr>
            <p:cNvGrpSpPr/>
            <p:nvPr userDrawn="1"/>
          </p:nvGrpSpPr>
          <p:grpSpPr>
            <a:xfrm>
              <a:off x="9521833" y="1389696"/>
              <a:ext cx="2617883" cy="161583"/>
              <a:chOff x="12352022" y="513115"/>
              <a:chExt cx="2617883" cy="161583"/>
            </a:xfrm>
          </p:grpSpPr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E89C6915-94F6-4D4B-8975-ED14DBCA833F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FE244EEE-8393-A640-A30E-410E64B399C3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16158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Chart Title</a:t>
                </a: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CD42217E-81A1-104F-955A-C09C77A38FBC}"/>
                </a:ext>
              </a:extLst>
            </p:cNvPr>
            <p:cNvGrpSpPr/>
            <p:nvPr userDrawn="1"/>
          </p:nvGrpSpPr>
          <p:grpSpPr>
            <a:xfrm>
              <a:off x="9521833" y="2233977"/>
              <a:ext cx="2617883" cy="161583"/>
              <a:chOff x="12352022" y="513115"/>
              <a:chExt cx="2617883" cy="161583"/>
            </a:xfrm>
          </p:grpSpPr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257BABD1-3C83-0B45-98DC-FCF22AD55A6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81EDE936-4FAD-0D4A-AC8B-538F26FFEA64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16158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Text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01CA2DD-38D7-7342-A3CE-110F68E2A092}"/>
                </a:ext>
              </a:extLst>
            </p:cNvPr>
            <p:cNvGrpSpPr/>
            <p:nvPr userDrawn="1"/>
          </p:nvGrpSpPr>
          <p:grpSpPr>
            <a:xfrm>
              <a:off x="9554253" y="3557439"/>
              <a:ext cx="2819399" cy="1181890"/>
              <a:chOff x="9541498" y="3352649"/>
              <a:chExt cx="2819399" cy="1181890"/>
            </a:xfrm>
          </p:grpSpPr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90218002-4B02-564D-A2BF-0D09979B2947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CBF6E043-B29D-E249-8D60-765DDD87E278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8FADE130-D33A-2F46-9CD0-6AC4FFE5A97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0" name="TextBox 59">
                    <a:extLst>
                      <a:ext uri="{FF2B5EF4-FFF2-40B4-BE49-F238E27FC236}">
                        <a16:creationId xmlns:a16="http://schemas.microsoft.com/office/drawing/2014/main" id="{6EAF02B6-2D34-C642-BAC0-B2B8830ABC01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1" name="TextBox 60">
                    <a:extLst>
                      <a:ext uri="{FF2B5EF4-FFF2-40B4-BE49-F238E27FC236}">
                        <a16:creationId xmlns:a16="http://schemas.microsoft.com/office/drawing/2014/main" id="{C0F09278-9856-1E49-9DED-3BB87FE53943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58" name="Graphic 57">
                  <a:extLst>
                    <a:ext uri="{FF2B5EF4-FFF2-40B4-BE49-F238E27FC236}">
                      <a16:creationId xmlns:a16="http://schemas.microsoft.com/office/drawing/2014/main" id="{35768E32-3EEB-334C-B735-DDE79280446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DA8E6F77-3696-DA42-BC1C-06A344FD999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0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591275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hoto,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02C580C-279C-C14B-A35B-19A3198CE523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2EA00E4-A5CA-8A45-BBC6-14C9E3239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9144001" cy="5696907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6B2C3DE-0130-DA4D-94C6-482024DAA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420387" cy="5696907"/>
          </a:xfrm>
          <a:custGeom>
            <a:avLst/>
            <a:gdLst>
              <a:gd name="connsiteX0" fmla="*/ 0 w 6420387"/>
              <a:gd name="connsiteY0" fmla="*/ 0 h 5696907"/>
              <a:gd name="connsiteX1" fmla="*/ 3716919 w 6420387"/>
              <a:gd name="connsiteY1" fmla="*/ 0 h 5696907"/>
              <a:gd name="connsiteX2" fmla="*/ 6420387 w 6420387"/>
              <a:gd name="connsiteY2" fmla="*/ 5696907 h 5696907"/>
              <a:gd name="connsiteX3" fmla="*/ 0 w 6420387"/>
              <a:gd name="connsiteY3" fmla="*/ 5696907 h 569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0387" h="5696907">
                <a:moveTo>
                  <a:pt x="0" y="0"/>
                </a:moveTo>
                <a:lnTo>
                  <a:pt x="3716919" y="0"/>
                </a:lnTo>
                <a:lnTo>
                  <a:pt x="6420387" y="5696907"/>
                </a:lnTo>
                <a:lnTo>
                  <a:pt x="0" y="5696907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rIns="1080000" bIns="360000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presentation title. 3 lines max.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D5E1C61-E66D-DA4C-9929-23CE218C8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839A94D-69B9-9B42-ADB6-5E2783E59D60}"/>
              </a:ext>
            </a:extLst>
          </p:cNvPr>
          <p:cNvGrpSpPr/>
          <p:nvPr userDrawn="1"/>
        </p:nvGrpSpPr>
        <p:grpSpPr>
          <a:xfrm>
            <a:off x="-256964" y="3892184"/>
            <a:ext cx="251461" cy="1365066"/>
            <a:chOff x="-256404" y="360363"/>
            <a:chExt cx="251461" cy="692152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CE4099C-9250-F14E-B63A-6B88F9C4617C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0DA35D6A-7BA6-2846-B075-E42DA9FDC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0F979BE9-5A4D-5249-ABC0-D34EA5C1694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4154E1B-83C9-CE44-B54D-7570877BC0F6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5F8F36D-FAB4-0F4E-A379-E3472DE06A65}"/>
                </a:ext>
              </a:extLst>
            </p:cNvPr>
            <p:cNvSpPr txBox="1"/>
            <p:nvPr userDrawn="1"/>
          </p:nvSpPr>
          <p:spPr>
            <a:xfrm rot="16200000">
              <a:off x="-252501" y="649201"/>
              <a:ext cx="243656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6B5788D-9AC0-0F48-9140-94BCE0A5105D}"/>
              </a:ext>
            </a:extLst>
          </p:cNvPr>
          <p:cNvGrpSpPr/>
          <p:nvPr userDrawn="1"/>
        </p:nvGrpSpPr>
        <p:grpSpPr>
          <a:xfrm>
            <a:off x="-256964" y="6029561"/>
            <a:ext cx="251461" cy="414972"/>
            <a:chOff x="-256404" y="360363"/>
            <a:chExt cx="251461" cy="69215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6243773-C490-624F-9979-02BFC0955224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72DEF8A-FDF5-7F4A-BFE9-CF134E153B2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E2DAB7D-10AF-E247-BAB1-1578269F1A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C0C35A0-DD72-784F-A27B-735DC03D2758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973177D-69AF-A441-B075-A398D0A8EA56}"/>
                </a:ext>
              </a:extLst>
            </p:cNvPr>
            <p:cNvSpPr txBox="1"/>
            <p:nvPr userDrawn="1"/>
          </p:nvSpPr>
          <p:spPr>
            <a:xfrm rot="16200000">
              <a:off x="-328529" y="649200"/>
              <a:ext cx="395711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4BCC0C5A-F55F-9C41-8911-BD533771A88A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6673517" y="5356375"/>
            <a:ext cx="2254584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B7451DFE-54EF-8D41-8C76-20EC09B2F4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1" y="6061208"/>
            <a:ext cx="3313429" cy="364145"/>
          </a:xfrm>
        </p:spPr>
        <p:txBody>
          <a:bodyPr anchor="ctr"/>
          <a:lstStyle>
            <a:lvl1pPr marL="9525" indent="0">
              <a:buFontTx/>
              <a:buNone/>
              <a:tabLst/>
              <a:defRPr sz="1400" b="0">
                <a:solidFill>
                  <a:schemeClr val="bg1"/>
                </a:solidFill>
              </a:defRPr>
            </a:lvl1pPr>
            <a:lvl2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  <a:lvl6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6pPr>
            <a:lvl7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7pPr>
            <a:lvl8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8pPr>
            <a:lvl9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 (Month DD, YYYY)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1DB998A-76FC-C441-98D8-55E9046DCE7C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F08EEF1B-2AF8-C344-86EB-7F981E8985F6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3A9E4733-C506-0844-9E44-CB8C78A366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32E21B7-E879-204B-ADE1-A42C6955B28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8D4562F-D995-F046-801C-A122DFD6CADE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1AA1BCF7-D342-9249-A4E1-887BE4C32CF7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B4CBA404-5630-844A-9D04-62E185C0FB7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4C639544-67F3-0C4C-9027-79C351020D1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8DD139D8-8410-A24E-A96F-E2E4B698E49E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7EB12B99-0912-9646-A844-B66DA910262F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3" name="Straight Arrow Connector 62">
                <a:extLst>
                  <a:ext uri="{FF2B5EF4-FFF2-40B4-BE49-F238E27FC236}">
                    <a16:creationId xmlns:a16="http://schemas.microsoft.com/office/drawing/2014/main" id="{AE13A984-EAC2-3945-ABC6-FF4BA774F757}"/>
                  </a:ext>
                </a:extLst>
              </p:cNvPr>
              <p:cNvCxnSpPr>
                <a:cxnSpLocks/>
                <a:stCxn id="62" idx="1"/>
                <a:endCxn id="67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Arrow Connector 63">
                <a:extLst>
                  <a:ext uri="{FF2B5EF4-FFF2-40B4-BE49-F238E27FC236}">
                    <a16:creationId xmlns:a16="http://schemas.microsoft.com/office/drawing/2014/main" id="{8E79DC42-2367-1647-A387-D6C6AD1706D4}"/>
                  </a:ext>
                </a:extLst>
              </p:cNvPr>
              <p:cNvCxnSpPr>
                <a:cxnSpLocks/>
                <a:stCxn id="62" idx="3"/>
                <a:endCxn id="67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BEC4062-2C71-5641-9D80-32E997FB6AB1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815BFFE-BA37-C544-B34D-80E091B4D5A9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AB7E2598-A4C5-8049-B9C1-EB8A8D058E5E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DCB93854-4E5E-4A48-A4A0-BCD0CF8AC499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805E6D04-68CA-E647-BBD9-564877AF14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D08E6B56-1E9B-7E4E-85B2-A9B3824FD8CD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3F62C2E3-27EB-DA4C-812B-AEDC8DC821E8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91" name="Rectangle 90">
                  <a:extLst>
                    <a:ext uri="{FF2B5EF4-FFF2-40B4-BE49-F238E27FC236}">
                      <a16:creationId xmlns:a16="http://schemas.microsoft.com/office/drawing/2014/main" id="{067A57F8-10BF-114D-ADE4-BB36D945601B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53481F22-033F-494F-91EE-A414E6329D04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93" name="Graphic 92">
                  <a:extLst>
                    <a:ext uri="{FF2B5EF4-FFF2-40B4-BE49-F238E27FC236}">
                      <a16:creationId xmlns:a16="http://schemas.microsoft.com/office/drawing/2014/main" id="{CEA436C0-8AD2-5944-82B9-DED08C002A4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04F4131D-84F3-654C-9A0B-CDB482EC230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F9DE4246-BEF9-C74D-A684-B5C12EAECFD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8641C5C1-E38B-A34E-92F7-ECE0D70A163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6B669619-1D27-2B4F-9149-52D259C4C056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40475A09-AB7A-4148-BF87-AC5BD5D28E9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0A537143-8F17-5A4F-B4E7-72C5BA8E2B2D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88" name="Graphic 87">
                  <a:extLst>
                    <a:ext uri="{FF2B5EF4-FFF2-40B4-BE49-F238E27FC236}">
                      <a16:creationId xmlns:a16="http://schemas.microsoft.com/office/drawing/2014/main" id="{CD9BD6BD-CC07-DF45-8B87-EF59F2A1371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766FD5EC-ADD9-6F4A-AB3B-9720EE7B215D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90" name="Picture 89">
                  <a:extLst>
                    <a:ext uri="{FF2B5EF4-FFF2-40B4-BE49-F238E27FC236}">
                      <a16:creationId xmlns:a16="http://schemas.microsoft.com/office/drawing/2014/main" id="{76996C94-F976-1D4B-853D-E1E5761022F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89B94558-65CA-5040-908F-D0F1D81AB8F0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28608AAC-2150-B84C-B946-1A7A733EF597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CBC956E1-67FD-BD42-B3A0-FE885FBCEBC8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574E3DAA-8855-3543-8F87-92008D643488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F1778C94-9A0A-CA43-BC18-9113BB5FB8E3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24115E3E-DF36-734C-AA36-386ACD9CFD09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3A0040AC-7F08-DA46-A0A6-06E63C383881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2756E75C-BA8F-DB49-A5F6-4A6E761A0CFD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86673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Data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FD4B8862-A567-3B46-B0C3-394F4DE43C21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799" y="1735138"/>
            <a:ext cx="6533777" cy="4430712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DF938284-2F1E-584D-9337-D7B87CBC5AA9}"/>
              </a:ext>
            </a:extLst>
          </p:cNvPr>
          <p:cNvSpPr>
            <a:spLocks noGrp="1"/>
          </p:cNvSpPr>
          <p:nvPr>
            <p:ph type="tbl" sz="quarter" idx="114"/>
          </p:nvPr>
        </p:nvSpPr>
        <p:spPr>
          <a:xfrm>
            <a:off x="7301753" y="1877126"/>
            <a:ext cx="1410447" cy="4142674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36A53150-D08D-9841-95BF-646666A13560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74" name="Text Placeholder 6">
            <a:extLst>
              <a:ext uri="{FF2B5EF4-FFF2-40B4-BE49-F238E27FC236}">
                <a16:creationId xmlns:a16="http://schemas.microsoft.com/office/drawing/2014/main" id="{0EEFD735-CCDF-DA48-8D5E-802BC215A699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431800" y="1224318"/>
            <a:ext cx="1904367" cy="386926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Chart subtitle (second level)</a:t>
            </a:r>
          </a:p>
        </p:txBody>
      </p:sp>
      <p:sp>
        <p:nvSpPr>
          <p:cNvPr id="75" name="Text Placeholder 6">
            <a:extLst>
              <a:ext uri="{FF2B5EF4-FFF2-40B4-BE49-F238E27FC236}">
                <a16:creationId xmlns:a16="http://schemas.microsoft.com/office/drawing/2014/main" id="{F2931FB7-F796-0A4B-9B3B-8EBE98CF1E80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7301753" y="1211494"/>
            <a:ext cx="1410447" cy="399750"/>
          </a:xfrm>
          <a:blipFill dpi="0" rotWithShape="1">
            <a:blip r:embed="rId2"/>
            <a:srcRect/>
            <a:tile tx="0" ty="0" sx="100000" sy="100000" flip="xy" algn="b"/>
          </a:blipFill>
          <a:effectLst/>
        </p:spPr>
        <p:txBody>
          <a:bodyPr wrap="square" bIns="54000" anchor="b">
            <a:spAutoFit/>
          </a:bodyPr>
          <a:lstStyle>
            <a:lvl1pPr marL="3175" indent="0" algn="ctr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 algn="ctr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 algn="ctr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 algn="ctr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 algn="ctr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 algn="ctr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 algn="ctr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 algn="ctr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 algn="ctr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topic</a:t>
            </a:r>
          </a:p>
          <a:p>
            <a:pPr lvl="1"/>
            <a:r>
              <a:rPr lang="en-US" dirty="0"/>
              <a:t>Sub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0E0EC71-9467-C940-A5C4-5AE2C2306E07}"/>
              </a:ext>
            </a:extLst>
          </p:cNvPr>
          <p:cNvSpPr>
            <a:spLocks noGrp="1"/>
          </p:cNvSpPr>
          <p:nvPr userDrawn="1">
            <p:ph type="dt" sz="half" idx="1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1040711-9799-2949-9707-943424D7AC7C}"/>
              </a:ext>
            </a:extLst>
          </p:cNvPr>
          <p:cNvSpPr>
            <a:spLocks noGrp="1"/>
          </p:cNvSpPr>
          <p:nvPr userDrawn="1">
            <p:ph type="ftr" sz="quarter" idx="1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CAA4B3A-4569-BE43-A665-117BBA2442D6}"/>
              </a:ext>
            </a:extLst>
          </p:cNvPr>
          <p:cNvSpPr>
            <a:spLocks noGrp="1"/>
          </p:cNvSpPr>
          <p:nvPr userDrawn="1">
            <p:ph type="sldNum" sz="quarter" idx="11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864070E-A16B-8540-98EE-429756CFB812}"/>
              </a:ext>
            </a:extLst>
          </p:cNvPr>
          <p:cNvGrpSpPr/>
          <p:nvPr userDrawn="1"/>
        </p:nvGrpSpPr>
        <p:grpSpPr>
          <a:xfrm>
            <a:off x="9399182" y="-1"/>
            <a:ext cx="2961715" cy="9267987"/>
            <a:chOff x="9399182" y="-1"/>
            <a:chExt cx="2961715" cy="9267987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0603B78C-BC30-1640-816E-69DA7CE83E2F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26798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9826FF71-3274-F14B-B6F7-E4981E0656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98722430-68E5-C049-90EB-29339645DED9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28459255-E604-9343-87B1-649A2191144C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69499230-744A-E14B-9620-23F5B206215C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8FC05E41-787F-E742-AC69-7912BA0ECCD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0A88B44-6F55-9D4E-AAE3-48BC61C70445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2EAF79B9-3FFF-124B-B1AD-B933F83802D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E91BEBAB-D308-674B-BF77-07962DFE1A2B}"/>
                </a:ext>
              </a:extLst>
            </p:cNvPr>
            <p:cNvGrpSpPr/>
            <p:nvPr userDrawn="1"/>
          </p:nvGrpSpPr>
          <p:grpSpPr>
            <a:xfrm>
              <a:off x="9521833" y="8003265"/>
              <a:ext cx="2676002" cy="1052731"/>
              <a:chOff x="9521833" y="2036288"/>
              <a:chExt cx="2676002" cy="1052731"/>
            </a:xfrm>
          </p:grpSpPr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8E29CC56-D7E0-A743-8545-C70D5769BB5C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13288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37B40757-D8C1-EC41-9432-9B3652E3815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8B671BCA-8DB9-E644-88C5-5BC2E18F782D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484748"/>
                <a:chOff x="12352022" y="513115"/>
                <a:chExt cx="2557391" cy="484748"/>
              </a:xfrm>
            </p:grpSpPr>
            <p:sp>
              <p:nvSpPr>
                <p:cNvPr id="102" name="TextBox 101">
                  <a:extLst>
                    <a:ext uri="{FF2B5EF4-FFF2-40B4-BE49-F238E27FC236}">
                      <a16:creationId xmlns:a16="http://schemas.microsoft.com/office/drawing/2014/main" id="{BEB784B2-AE05-A243-8FAF-336308ECBC8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D7E60B24-6CF0-D146-894F-6A8172D604D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4847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Open the </a:t>
                  </a:r>
                  <a:r>
                    <a:rPr lang="en-US" b="1" dirty="0"/>
                    <a:t>VEDP Template Assets file </a:t>
                  </a:r>
                  <a:r>
                    <a:rPr lang="en-US" dirty="0"/>
                    <a:t>and copy the desired chart type into your presentation.</a:t>
                  </a:r>
                </a:p>
              </p:txBody>
            </p:sp>
          </p:grp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F035D1A9-98A9-1540-B091-D067CCAC007C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FFA433AB-7A83-FE46-B7D5-E3E9223C94FE}"/>
                </a:ext>
              </a:extLst>
            </p:cNvPr>
            <p:cNvSpPr txBox="1"/>
            <p:nvPr userDrawn="1"/>
          </p:nvSpPr>
          <p:spPr>
            <a:xfrm>
              <a:off x="9558507" y="4314602"/>
              <a:ext cx="205665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1B09943F-2379-404A-B5DA-E7E4342B6C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517219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BFB006C8-D07C-804E-A72A-C50DBCE312C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4664749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8FC336D-B4A7-4A4A-8AD2-1F9EF034E3AD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391799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4AF85FC-1918-5741-B46D-5BD00B98A8B4}"/>
                </a:ext>
              </a:extLst>
            </p:cNvPr>
            <p:cNvSpPr txBox="1"/>
            <p:nvPr userDrawn="1"/>
          </p:nvSpPr>
          <p:spPr>
            <a:xfrm>
              <a:off x="9686426" y="4639722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Select the chart placeholder and then paste your existing chart.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674EEFB-EF3C-2340-BE36-9233624B9308}"/>
                </a:ext>
              </a:extLst>
            </p:cNvPr>
            <p:cNvSpPr txBox="1"/>
            <p:nvPr userDrawn="1"/>
          </p:nvSpPr>
          <p:spPr>
            <a:xfrm>
              <a:off x="9686426" y="5368928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Right-click on the chart and choose “Change Chart Type…”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863F9D4-3950-0241-850A-C88B4A8B95D4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854789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57780A7-784A-CE4E-A107-6AD67C7614A3}"/>
                </a:ext>
              </a:extLst>
            </p:cNvPr>
            <p:cNvSpPr txBox="1"/>
            <p:nvPr userDrawn="1"/>
          </p:nvSpPr>
          <p:spPr>
            <a:xfrm>
              <a:off x="9686426" y="5831918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hoose one of the VEDP chart styles from the ‘Templates’ category.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E018981E-3F1A-7146-9B4B-4485D3EC3895}"/>
                </a:ext>
              </a:extLst>
            </p:cNvPr>
            <p:cNvSpPr txBox="1"/>
            <p:nvPr userDrawn="1"/>
          </p:nvSpPr>
          <p:spPr>
            <a:xfrm>
              <a:off x="9674268" y="5002944"/>
              <a:ext cx="2297650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A9C1A1AE-A143-5B45-A93F-D2BC596FED56}"/>
                </a:ext>
              </a:extLst>
            </p:cNvPr>
            <p:cNvGrpSpPr/>
            <p:nvPr userDrawn="1"/>
          </p:nvGrpSpPr>
          <p:grpSpPr>
            <a:xfrm>
              <a:off x="9541497" y="6326507"/>
              <a:ext cx="2735151" cy="1475581"/>
              <a:chOff x="9296567" y="4910411"/>
              <a:chExt cx="2735151" cy="1475581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205C3E47-B0FB-6D42-8FE4-533A345103DB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75581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05B3AB36-11C1-B345-B1C6-7001A0937B3A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94" name="Graphic 93">
                <a:extLst>
                  <a:ext uri="{FF2B5EF4-FFF2-40B4-BE49-F238E27FC236}">
                    <a16:creationId xmlns:a16="http://schemas.microsoft.com/office/drawing/2014/main" id="{26163978-6874-234F-A1D2-D12DAC94998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69B7DBB9-0A63-934A-91F0-2514D4B24140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96539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dirty="0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dirty="0"/>
                  <a:t>Right-click the chart and choose</a:t>
                </a:r>
                <a:br>
                  <a:rPr lang="en-US" dirty="0"/>
                </a:br>
                <a:r>
                  <a:rPr lang="en-US" dirty="0"/>
                  <a:t>“Change Chart Type”</a:t>
                </a:r>
              </a:p>
              <a:p>
                <a:pPr lvl="1"/>
                <a:r>
                  <a:rPr lang="en-US" dirty="0"/>
                  <a:t>Then choose the matching VEDP chart style from the ‘Templates’ category.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DC97BF0-6494-054B-BAC7-76B18D15D463}"/>
                </a:ext>
              </a:extLst>
            </p:cNvPr>
            <p:cNvGrpSpPr/>
            <p:nvPr userDrawn="1"/>
          </p:nvGrpSpPr>
          <p:grpSpPr>
            <a:xfrm>
              <a:off x="9541497" y="1990481"/>
              <a:ext cx="2735151" cy="2124319"/>
              <a:chOff x="9296567" y="4910411"/>
              <a:chExt cx="2735151" cy="2124319"/>
            </a:xfrm>
          </p:grpSpPr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6EA5BD78-0CA6-1D44-AE20-16CD67196734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2124319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C9B44842-1EC0-ED4A-8AFC-859D10E283B5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se a table to add data column</a:t>
                </a:r>
              </a:p>
            </p:txBody>
          </p:sp>
          <p:pic>
            <p:nvPicPr>
              <p:cNvPr id="49" name="Graphic 48">
                <a:extLst>
                  <a:ext uri="{FF2B5EF4-FFF2-40B4-BE49-F238E27FC236}">
                    <a16:creationId xmlns:a16="http://schemas.microsoft.com/office/drawing/2014/main" id="{B936CAA9-65A1-FC4A-875A-7639F7F131D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101400F7-2DF9-9C4E-8B1C-7F2315B8FDAC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648896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pPr lvl="1"/>
                <a:r>
                  <a:rPr lang="en-US" dirty="0"/>
                  <a:t>Click the table icon and insert a table with</a:t>
                </a:r>
                <a:br>
                  <a:rPr lang="en-US" dirty="0"/>
                </a:br>
                <a:r>
                  <a:rPr lang="en-US" dirty="0"/>
                  <a:t>1 column and the same number of rows as categories in your chart.</a:t>
                </a:r>
              </a:p>
              <a:p>
                <a:pPr lvl="1"/>
                <a:r>
                  <a:rPr lang="en-US" dirty="0"/>
                  <a:t>In the Table Design tab, choose the</a:t>
                </a:r>
                <a:br>
                  <a:rPr lang="en-US" dirty="0"/>
                </a:br>
                <a:r>
                  <a:rPr lang="en-US" dirty="0"/>
                  <a:t>“No Style, No Grid” table style.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3BF0B28D-ACDE-694B-AE6D-61241B43B83E}"/>
                  </a:ext>
                </a:extLst>
              </p:cNvPr>
              <p:cNvSpPr txBox="1"/>
              <p:nvPr userDrawn="1"/>
            </p:nvSpPr>
            <p:spPr>
              <a:xfrm>
                <a:off x="9471805" y="6471925"/>
                <a:ext cx="2284765" cy="39959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pPr lvl="1"/>
                <a:r>
                  <a:rPr lang="en-US" dirty="0"/>
                  <a:t>Change the text alignment to “Center”</a:t>
                </a:r>
              </a:p>
              <a:p>
                <a:pPr lvl="1"/>
                <a:r>
                  <a:rPr lang="en-US" dirty="0"/>
                  <a:t>Change the vertical alignment of the cells to “Middle”</a:t>
                </a: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9A68EBB-78D1-BF41-BBB4-FEEDFBED00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9779333" y="3076329"/>
              <a:ext cx="2265030" cy="32418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9CE2B6D-A88E-BF47-88F9-0FD3CD4DD4D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1073" t="3423" r="1434" b="3096"/>
            <a:stretch/>
          </p:blipFill>
          <p:spPr>
            <a:xfrm>
              <a:off x="10594975" y="3279775"/>
              <a:ext cx="739775" cy="184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49592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Callou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2B99E022-6BD1-074D-A651-0F1D3CDA165E}"/>
              </a:ext>
            </a:extLst>
          </p:cNvPr>
          <p:cNvSpPr/>
          <p:nvPr userDrawn="1"/>
        </p:nvSpPr>
        <p:spPr>
          <a:xfrm>
            <a:off x="9399182" y="-1"/>
            <a:ext cx="2798651" cy="846557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9C63083C-E80F-E145-8345-4B0E6010FB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3480"/>
          <a:stretch/>
        </p:blipFill>
        <p:spPr>
          <a:xfrm>
            <a:off x="9558505" y="2429172"/>
            <a:ext cx="2639324" cy="93503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6" name="Chart Placeholder 2">
            <a:extLst>
              <a:ext uri="{FF2B5EF4-FFF2-40B4-BE49-F238E27FC236}">
                <a16:creationId xmlns:a16="http://schemas.microsoft.com/office/drawing/2014/main" id="{A52282EC-86DC-8D43-96A4-DCB61C454A07}"/>
              </a:ext>
            </a:extLst>
          </p:cNvPr>
          <p:cNvSpPr>
            <a:spLocks noGrp="1"/>
          </p:cNvSpPr>
          <p:nvPr>
            <p:ph type="chart" sz="quarter" idx="113"/>
          </p:nvPr>
        </p:nvSpPr>
        <p:spPr>
          <a:xfrm>
            <a:off x="431799" y="1735138"/>
            <a:ext cx="5762524" cy="4430712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047063-0C39-EB47-B9DB-09006681A5FA}"/>
              </a:ext>
            </a:extLst>
          </p:cNvPr>
          <p:cNvSpPr>
            <a:spLocks noGrp="1"/>
          </p:cNvSpPr>
          <p:nvPr>
            <p:ph type="body" sz="quarter" idx="114" hasCustomPrompt="1"/>
          </p:nvPr>
        </p:nvSpPr>
        <p:spPr>
          <a:xfrm>
            <a:off x="6533535" y="1735139"/>
            <a:ext cx="2178665" cy="4430712"/>
          </a:xfrm>
          <a:ln w="12700">
            <a:solidFill>
              <a:schemeClr val="accent1"/>
            </a:solidFill>
          </a:ln>
        </p:spPr>
        <p:txBody>
          <a:bodyPr lIns="216000" tIns="360000" rIns="216000" bIns="21600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 lang="en-US" sz="3200"/>
            </a:lvl1pPr>
            <a:lvl2pPr>
              <a:defRPr lang="en-US" dirty="0"/>
            </a:lvl2pPr>
            <a:lvl3pPr marL="0" indent="0">
              <a:buFontTx/>
              <a:buNone/>
              <a:defRPr lang="en-US" dirty="0"/>
            </a:lvl3pPr>
            <a:lvl4pPr marL="0" indent="0">
              <a:buFontTx/>
              <a:buNone/>
              <a:defRPr lang="en-US" dirty="0"/>
            </a:lvl4pPr>
            <a:lvl5pPr marL="0" indent="0">
              <a:buFontTx/>
              <a:buNone/>
              <a:defRPr lang="en-US" dirty="0"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XX%</a:t>
            </a:r>
          </a:p>
          <a:p>
            <a:pPr lvl="1"/>
            <a:r>
              <a:rPr lang="en-US" dirty="0"/>
              <a:t>Body text (second level)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7041110-B28F-8541-8B72-CE723F208693}"/>
              </a:ext>
            </a:extLst>
          </p:cNvPr>
          <p:cNvSpPr>
            <a:spLocks noGrp="1"/>
          </p:cNvSpPr>
          <p:nvPr>
            <p:ph type="body" sz="quarter" idx="115" hasCustomPrompt="1"/>
          </p:nvPr>
        </p:nvSpPr>
        <p:spPr>
          <a:xfrm>
            <a:off x="6907364" y="1578356"/>
            <a:ext cx="1431015" cy="332399"/>
          </a:xfrm>
          <a:solidFill>
            <a:schemeClr val="bg1"/>
          </a:solidFill>
          <a:effectLst/>
        </p:spPr>
        <p:txBody>
          <a:bodyPr wrap="none" lIns="72000" tIns="0" rIns="72000" bIns="0" anchor="ctr">
            <a:spAutoFit/>
          </a:bodyPr>
          <a:lstStyle>
            <a:lvl1pPr algn="ctr">
              <a:spcBef>
                <a:spcPts val="100"/>
              </a:spcBef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 marL="3175" indent="0" algn="ctr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</a:defRPr>
            </a:lvl2pPr>
            <a:lvl3pPr marL="9525" indent="0" algn="ctr">
              <a:buNone/>
              <a:tabLst/>
              <a:defRPr sz="1200">
                <a:solidFill>
                  <a:schemeClr val="accent1"/>
                </a:solidFill>
              </a:defRPr>
            </a:lvl3pPr>
            <a:lvl4pPr marL="9525" indent="0" algn="ctr">
              <a:buNone/>
              <a:tabLst/>
              <a:defRPr sz="1200">
                <a:solidFill>
                  <a:schemeClr val="accent1"/>
                </a:solidFill>
              </a:defRPr>
            </a:lvl4pPr>
            <a:lvl5pPr marL="9525" indent="0" algn="ctr">
              <a:buFont typeface="Arial" panose="020B0604020202020204" pitchFamily="34" charset="0"/>
              <a:buNone/>
              <a:tabLst/>
              <a:defRPr sz="1200">
                <a:solidFill>
                  <a:schemeClr val="accent1"/>
                </a:solidFill>
              </a:defRPr>
            </a:lvl5pPr>
            <a:lvl6pPr marL="9525" indent="0" algn="ctr">
              <a:buNone/>
              <a:tabLst/>
              <a:defRPr sz="1200">
                <a:solidFill>
                  <a:schemeClr val="accent1"/>
                </a:solidFill>
              </a:defRPr>
            </a:lvl6pPr>
            <a:lvl7pPr marL="9525" indent="0" algn="ctr">
              <a:buNone/>
              <a:tabLst/>
              <a:defRPr sz="1200">
                <a:solidFill>
                  <a:schemeClr val="accent1"/>
                </a:solidFill>
              </a:defRPr>
            </a:lvl7pPr>
            <a:lvl8pPr marL="9525" indent="0" algn="ctr">
              <a:buNone/>
              <a:tabLst/>
              <a:defRPr sz="1200">
                <a:solidFill>
                  <a:schemeClr val="accent1"/>
                </a:solidFill>
              </a:defRPr>
            </a:lvl8pPr>
            <a:lvl9pPr marL="9525" indent="0" algn="ctr">
              <a:buNone/>
              <a:tabLst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topic</a:t>
            </a:r>
          </a:p>
          <a:p>
            <a:pPr lvl="1"/>
            <a:r>
              <a:rPr lang="en-US" dirty="0"/>
              <a:t>Subtopic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60CEA154-018A-D041-9D08-46D2C2864923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5097C055-E96E-DC48-9B57-3C90E8692550}"/>
              </a:ext>
            </a:extLst>
          </p:cNvPr>
          <p:cNvSpPr>
            <a:spLocks noGrp="1"/>
          </p:cNvSpPr>
          <p:nvPr userDrawn="1">
            <p:ph type="body" sz="quarter" idx="108" hasCustomPrompt="1"/>
          </p:nvPr>
        </p:nvSpPr>
        <p:spPr>
          <a:xfrm>
            <a:off x="431800" y="1224318"/>
            <a:ext cx="1904367" cy="386926"/>
          </a:xfrm>
          <a:blipFill dpi="0" rotWithShape="1">
            <a:blip r:embed="rId3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Chart subtitle (second level)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304FF1D-0CE8-E345-906B-4A0F37157528}"/>
              </a:ext>
            </a:extLst>
          </p:cNvPr>
          <p:cNvGrpSpPr/>
          <p:nvPr userDrawn="1"/>
        </p:nvGrpSpPr>
        <p:grpSpPr>
          <a:xfrm>
            <a:off x="9541497" y="162442"/>
            <a:ext cx="2819400" cy="814510"/>
            <a:chOff x="-3644733" y="165205"/>
            <a:chExt cx="2819400" cy="8145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4CD39F0-34C6-E349-B508-223A8EC300CE}"/>
                </a:ext>
              </a:extLst>
            </p:cNvPr>
            <p:cNvSpPr/>
            <p:nvPr userDrawn="1"/>
          </p:nvSpPr>
          <p:spPr>
            <a:xfrm>
              <a:off x="-3644733" y="165205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CF4FF2B-41D7-814F-ADC3-B8F4D688F688}"/>
                </a:ext>
              </a:extLst>
            </p:cNvPr>
            <p:cNvSpPr txBox="1"/>
            <p:nvPr userDrawn="1"/>
          </p:nvSpPr>
          <p:spPr>
            <a:xfrm>
              <a:off x="-3039170" y="309204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26933AA9-32A1-AC4B-BE8F-5AD8531E5B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8882" t="5165" r="-1"/>
            <a:stretch/>
          </p:blipFill>
          <p:spPr>
            <a:xfrm>
              <a:off x="-3491292" y="414013"/>
              <a:ext cx="324017" cy="289055"/>
            </a:xfrm>
            <a:prstGeom prst="round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B92A826-7A09-9E44-916B-E29522B6D922}"/>
              </a:ext>
            </a:extLst>
          </p:cNvPr>
          <p:cNvGrpSpPr/>
          <p:nvPr userDrawn="1"/>
        </p:nvGrpSpPr>
        <p:grpSpPr>
          <a:xfrm>
            <a:off x="9558507" y="1119891"/>
            <a:ext cx="2639328" cy="202617"/>
            <a:chOff x="9303325" y="149270"/>
            <a:chExt cx="2639328" cy="202617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E88FFA9C-3A10-3948-84B4-9B1DF715F79D}"/>
                </a:ext>
              </a:extLst>
            </p:cNvPr>
            <p:cNvSpPr txBox="1"/>
            <p:nvPr userDrawn="1"/>
          </p:nvSpPr>
          <p:spPr>
            <a:xfrm>
              <a:off x="9303325" y="149270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C121F51-5A96-A745-9B63-72CEF196AD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03325" y="351887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AC2D6C2-0BE1-AA4F-AB14-C27A2EB40593}"/>
              </a:ext>
            </a:extLst>
          </p:cNvPr>
          <p:cNvGrpSpPr/>
          <p:nvPr userDrawn="1"/>
        </p:nvGrpSpPr>
        <p:grpSpPr>
          <a:xfrm>
            <a:off x="9521833" y="1389696"/>
            <a:ext cx="2617883" cy="161583"/>
            <a:chOff x="12352022" y="513115"/>
            <a:chExt cx="2617883" cy="161583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BC9D9FD-67BD-FB47-8182-C2E4CCB01CA9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2352022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C58E318-D8E3-D542-BEA7-9E8EF8674240}"/>
                </a:ext>
              </a:extLst>
            </p:cNvPr>
            <p:cNvSpPr txBox="1"/>
            <p:nvPr userDrawn="1"/>
          </p:nvSpPr>
          <p:spPr>
            <a:xfrm>
              <a:off x="12516615" y="513115"/>
              <a:ext cx="2453290" cy="16158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hart Title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5616D80C-A2C8-7A41-97B1-0131E7C240B3}"/>
              </a:ext>
            </a:extLst>
          </p:cNvPr>
          <p:cNvGrpSpPr/>
          <p:nvPr userDrawn="1"/>
        </p:nvGrpSpPr>
        <p:grpSpPr>
          <a:xfrm>
            <a:off x="9521833" y="2233977"/>
            <a:ext cx="2617883" cy="161583"/>
            <a:chOff x="12352022" y="513115"/>
            <a:chExt cx="2617883" cy="161583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6FB928-F772-BE46-A91F-588D2B103C8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2352022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7CCCD1E-0E8A-7F4E-8102-CB018E6B6E8F}"/>
                </a:ext>
              </a:extLst>
            </p:cNvPr>
            <p:cNvSpPr txBox="1"/>
            <p:nvPr userDrawn="1"/>
          </p:nvSpPr>
          <p:spPr>
            <a:xfrm>
              <a:off x="12516615" y="513115"/>
              <a:ext cx="2453290" cy="16158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allout Box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30AAE65-D135-5F4E-A8FA-538A1821D4A0}"/>
              </a:ext>
            </a:extLst>
          </p:cNvPr>
          <p:cNvGrpSpPr/>
          <p:nvPr userDrawn="1"/>
        </p:nvGrpSpPr>
        <p:grpSpPr>
          <a:xfrm>
            <a:off x="9521833" y="3502223"/>
            <a:ext cx="2754815" cy="4801460"/>
            <a:chOff x="9521833" y="3656659"/>
            <a:chExt cx="2754815" cy="4801460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FF00C3E3-3773-C749-A347-050E2BBEB510}"/>
                </a:ext>
              </a:extLst>
            </p:cNvPr>
            <p:cNvGrpSpPr/>
            <p:nvPr userDrawn="1"/>
          </p:nvGrpSpPr>
          <p:grpSpPr>
            <a:xfrm>
              <a:off x="9521833" y="7405388"/>
              <a:ext cx="2676002" cy="1052731"/>
              <a:chOff x="9521833" y="2036288"/>
              <a:chExt cx="2676002" cy="1052731"/>
            </a:xfrm>
          </p:grpSpPr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82CAC38A-6253-2D46-A9C1-302180EED363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13288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AD2B3722-E54B-F241-BF5C-4E06D9858D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DE6DD331-B8FF-724A-88A0-EDAB740240BC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484748"/>
                <a:chOff x="12352022" y="513115"/>
                <a:chExt cx="2557391" cy="484748"/>
              </a:xfrm>
            </p:grpSpPr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01BD870A-BDFF-AD42-9F9F-680AB538E99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D46E1157-8158-3D41-83D2-9C0A0041030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4847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Open the </a:t>
                  </a:r>
                  <a:r>
                    <a:rPr lang="en-US" b="1" dirty="0"/>
                    <a:t>VEDP Template Assets file </a:t>
                  </a:r>
                  <a:r>
                    <a:rPr lang="en-US" dirty="0"/>
                    <a:t>and copy the desired chart type into your presentation.</a:t>
                  </a:r>
                </a:p>
              </p:txBody>
            </p:sp>
          </p:grp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C12B8CA1-E11D-D840-A89D-9BDC9316EDA6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19F3EA98-82D3-ED4F-B900-49458C4A36FA}"/>
                </a:ext>
              </a:extLst>
            </p:cNvPr>
            <p:cNvSpPr txBox="1"/>
            <p:nvPr userDrawn="1"/>
          </p:nvSpPr>
          <p:spPr>
            <a:xfrm>
              <a:off x="9558507" y="3656659"/>
              <a:ext cx="205665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30A1EA8F-07DE-014F-AA10-6C9333AAD7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85927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1807A3DB-B170-C543-827E-1797D79B35B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00680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21F6557E-4825-E045-B871-0D127A0BFF5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73385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A11A289F-F032-6D42-A3A4-E7A6C9F596ED}"/>
                </a:ext>
              </a:extLst>
            </p:cNvPr>
            <p:cNvSpPr txBox="1"/>
            <p:nvPr userDrawn="1"/>
          </p:nvSpPr>
          <p:spPr>
            <a:xfrm>
              <a:off x="9686426" y="3981779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Select the chart placeholder and then paste your existing chart.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6CC7998-FBBA-984A-B3BB-B8422CBF5A84}"/>
                </a:ext>
              </a:extLst>
            </p:cNvPr>
            <p:cNvSpPr txBox="1"/>
            <p:nvPr userDrawn="1"/>
          </p:nvSpPr>
          <p:spPr>
            <a:xfrm>
              <a:off x="9686426" y="4710985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Right-click on the chart and choose “Change Chart Type…”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18527B35-9EDF-3247-A18C-B5CEAF52673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19684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6539DAF-BEC6-744B-B400-8FA0A0079295}"/>
                </a:ext>
              </a:extLst>
            </p:cNvPr>
            <p:cNvSpPr txBox="1"/>
            <p:nvPr userDrawn="1"/>
          </p:nvSpPr>
          <p:spPr>
            <a:xfrm>
              <a:off x="9686426" y="5173975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hoose one of the VEDP chart styles from the ‘Templates’ category.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5DB54E3-20CB-F84D-BA87-AE6461071775}"/>
                </a:ext>
              </a:extLst>
            </p:cNvPr>
            <p:cNvSpPr txBox="1"/>
            <p:nvPr userDrawn="1"/>
          </p:nvSpPr>
          <p:spPr>
            <a:xfrm>
              <a:off x="9674268" y="4345001"/>
              <a:ext cx="2297650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F601E2C-20C4-8448-BDCB-09817050A9EF}"/>
                </a:ext>
              </a:extLst>
            </p:cNvPr>
            <p:cNvGrpSpPr/>
            <p:nvPr userDrawn="1"/>
          </p:nvGrpSpPr>
          <p:grpSpPr>
            <a:xfrm>
              <a:off x="9541497" y="5668564"/>
              <a:ext cx="2735151" cy="1538827"/>
              <a:chOff x="9296567" y="4910411"/>
              <a:chExt cx="2735151" cy="1538827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10D997EE-0253-9948-A6ED-E7D0D161D2C0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538827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697CF5BD-F20F-DE4A-92B5-C2CEBD4ED538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90" name="Graphic 89">
                <a:extLst>
                  <a:ext uri="{FF2B5EF4-FFF2-40B4-BE49-F238E27FC236}">
                    <a16:creationId xmlns:a16="http://schemas.microsoft.com/office/drawing/2014/main" id="{8F021B2D-63E0-7348-9C34-06C74EB29FA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547D6D74-E159-4349-960D-F7C54F8A34D8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96539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dirty="0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dirty="0"/>
                  <a:t>Right-click the chart and choose</a:t>
                </a:r>
                <a:br>
                  <a:rPr lang="en-US" dirty="0"/>
                </a:br>
                <a:r>
                  <a:rPr lang="en-US" dirty="0"/>
                  <a:t>“Change Chart Type”</a:t>
                </a:r>
              </a:p>
              <a:p>
                <a:pPr lvl="1"/>
                <a:r>
                  <a:rPr lang="en-US" dirty="0"/>
                  <a:t>Then choose the matching VEDP chart style from the ‘Templates’ category.</a:t>
                </a:r>
              </a:p>
            </p:txBody>
          </p:sp>
        </p:grpSp>
      </p:grp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C9A997CF-9195-6143-A783-C6007CE38DB9}"/>
              </a:ext>
            </a:extLst>
          </p:cNvPr>
          <p:cNvSpPr>
            <a:spLocks noGrp="1"/>
          </p:cNvSpPr>
          <p:nvPr>
            <p:ph type="dt" sz="half" idx="1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7816C2B4-6EA9-7D40-A112-32D7F9DB85D9}"/>
              </a:ext>
            </a:extLst>
          </p:cNvPr>
          <p:cNvSpPr>
            <a:spLocks noGrp="1"/>
          </p:cNvSpPr>
          <p:nvPr>
            <p:ph type="ftr" sz="quarter" idx="1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6C8A9A10-E846-7A4E-B2F3-E64EB163031D}"/>
              </a:ext>
            </a:extLst>
          </p:cNvPr>
          <p:cNvSpPr>
            <a:spLocks noGrp="1"/>
          </p:cNvSpPr>
          <p:nvPr>
            <p:ph type="sldNum" sz="quarter" idx="11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E76FC806-1745-034B-9D8A-1CAFCD9FE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36104"/>
          <a:stretch/>
        </p:blipFill>
        <p:spPr>
          <a:xfrm>
            <a:off x="9558497" y="1610212"/>
            <a:ext cx="2639329" cy="522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6687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F7232953-10D7-9346-B58D-EA3D767D05C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1783" y="1233641"/>
            <a:ext cx="3941999" cy="2134716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5852B5E0-86AD-3749-B882-594E0C7618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70778" y="1233488"/>
            <a:ext cx="3941422" cy="2134938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D753A27-0B53-3B44-A318-323612277CF2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233487"/>
            <a:ext cx="0" cy="4932363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Caption">
            <a:extLst>
              <a:ext uri="{FF2B5EF4-FFF2-40B4-BE49-F238E27FC236}">
                <a16:creationId xmlns:a16="http://schemas.microsoft.com/office/drawing/2014/main" id="{CF4AE758-84F6-C54D-A7DE-052D01982D22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431225" y="2634839"/>
            <a:ext cx="3941998" cy="733587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502" name="Caption 2">
            <a:extLst>
              <a:ext uri="{FF2B5EF4-FFF2-40B4-BE49-F238E27FC236}">
                <a16:creationId xmlns:a16="http://schemas.microsoft.com/office/drawing/2014/main" id="{AC269ED5-A2B1-6A4F-BE9E-2525E65191C5}"/>
              </a:ext>
            </a:extLst>
          </p:cNvPr>
          <p:cNvSpPr>
            <a:spLocks noGrp="1"/>
          </p:cNvSpPr>
          <p:nvPr>
            <p:ph type="body" sz="quarter" idx="502" hasCustomPrompt="1"/>
          </p:nvPr>
        </p:nvSpPr>
        <p:spPr>
          <a:xfrm>
            <a:off x="4770202" y="2634839"/>
            <a:ext cx="3941998" cy="733587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499" name="Text Placeholder 1">
            <a:extLst>
              <a:ext uri="{FF2B5EF4-FFF2-40B4-BE49-F238E27FC236}">
                <a16:creationId xmlns:a16="http://schemas.microsoft.com/office/drawing/2014/main" id="{41B64066-3F3A-DB41-BCF0-E80DA5C45921}"/>
              </a:ext>
            </a:extLst>
          </p:cNvPr>
          <p:cNvSpPr>
            <a:spLocks noGrp="1"/>
          </p:cNvSpPr>
          <p:nvPr>
            <p:ph type="body" sz="quarter" idx="499"/>
          </p:nvPr>
        </p:nvSpPr>
        <p:spPr>
          <a:xfrm>
            <a:off x="431800" y="3535516"/>
            <a:ext cx="3941763" cy="26303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260EFF75-E658-614B-A491-3B51B67CB5AB}"/>
              </a:ext>
            </a:extLst>
          </p:cNvPr>
          <p:cNvSpPr>
            <a:spLocks noGrp="1"/>
          </p:cNvSpPr>
          <p:nvPr>
            <p:ph type="body" sz="quarter" idx="501"/>
          </p:nvPr>
        </p:nvSpPr>
        <p:spPr>
          <a:xfrm>
            <a:off x="4770437" y="3535516"/>
            <a:ext cx="3941763" cy="26303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C2462BB1-A914-C04A-8D72-3148BA19C440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0B3C8A-5655-8B44-8713-F8E0DC8EB268}"/>
              </a:ext>
            </a:extLst>
          </p:cNvPr>
          <p:cNvSpPr>
            <a:spLocks noGrp="1"/>
          </p:cNvSpPr>
          <p:nvPr userDrawn="1">
            <p:ph type="dt" sz="half" idx="1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55FF92-D07E-284C-BB1E-EFB0F62B0728}"/>
              </a:ext>
            </a:extLst>
          </p:cNvPr>
          <p:cNvSpPr>
            <a:spLocks noGrp="1"/>
          </p:cNvSpPr>
          <p:nvPr userDrawn="1">
            <p:ph type="ftr" sz="quarter" idx="1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5CB6C4-3F83-8C46-9B51-1523B5214FBC}"/>
              </a:ext>
            </a:extLst>
          </p:cNvPr>
          <p:cNvSpPr>
            <a:spLocks noGrp="1"/>
          </p:cNvSpPr>
          <p:nvPr userDrawn="1">
            <p:ph type="sldNum" sz="quarter" idx="114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DD4673-07D8-2F47-AE16-41FB7DB1F691}"/>
              </a:ext>
            </a:extLst>
          </p:cNvPr>
          <p:cNvGrpSpPr/>
          <p:nvPr userDrawn="1"/>
        </p:nvGrpSpPr>
        <p:grpSpPr>
          <a:xfrm>
            <a:off x="9399182" y="-2"/>
            <a:ext cx="2974470" cy="9769405"/>
            <a:chOff x="9399182" y="-2"/>
            <a:chExt cx="2974470" cy="9769405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EB07126-E360-1041-9164-DD8BA167A8AB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6821E402-D350-E444-8856-CC46A758A65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66715B48-D70E-A34F-8B62-E282410AAC7D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258C8417-A50B-8A40-AAC7-69B29D878C1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D5350C49-A777-6241-98F9-3A4F555D085D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89" name="Picture 88">
                <a:extLst>
                  <a:ext uri="{FF2B5EF4-FFF2-40B4-BE49-F238E27FC236}">
                    <a16:creationId xmlns:a16="http://schemas.microsoft.com/office/drawing/2014/main" id="{6602266A-7721-2749-BEF8-F0041AD01BC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A2A2AE4-DD6D-8844-B557-F45A9D1F1E5E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399905FA-4468-DE44-8356-F030E128DE0E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EEB7F7FC-6FB7-6B48-A4C7-1784FFA3B4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CFB53592-0368-5E42-BA03-98211B0977AE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70D6C76B-0CBD-8541-947F-B20A36C671CF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7B060E3F-3460-1340-A955-A0E0058CA96A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CF89F7B0-F650-8844-A28B-9665EB78F563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83" name="Graphic 82">
                  <a:extLst>
                    <a:ext uri="{FF2B5EF4-FFF2-40B4-BE49-F238E27FC236}">
                      <a16:creationId xmlns:a16="http://schemas.microsoft.com/office/drawing/2014/main" id="{AC2297FF-4363-464B-AD47-EFF94E8CC13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ECD7ABCD-E747-9145-B364-C6EE6679ED8D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9D2EDEA1-AFD7-8144-9BFE-E95C524E5D8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5D7D6192-8EC2-3147-944F-C9990998399D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07C54234-03B7-ED4C-95A6-74560FB7E24D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F53BB598-EA50-564F-ACB0-AF0849D9E4EA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7" name="TextBox 76">
                  <a:extLst>
                    <a:ext uri="{FF2B5EF4-FFF2-40B4-BE49-F238E27FC236}">
                      <a16:creationId xmlns:a16="http://schemas.microsoft.com/office/drawing/2014/main" id="{5709B753-3BAD-BA41-9041-2E20667632BC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78" name="Graphic 77">
                  <a:extLst>
                    <a:ext uri="{FF2B5EF4-FFF2-40B4-BE49-F238E27FC236}">
                      <a16:creationId xmlns:a16="http://schemas.microsoft.com/office/drawing/2014/main" id="{506AF462-47AB-2D41-9BC3-AFB0E9F9D82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9A627AE6-C7F3-334D-A34F-2BC4E58C2E95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80" name="Picture 79">
                  <a:extLst>
                    <a:ext uri="{FF2B5EF4-FFF2-40B4-BE49-F238E27FC236}">
                      <a16:creationId xmlns:a16="http://schemas.microsoft.com/office/drawing/2014/main" id="{BA46C26C-A1B1-3143-B061-C7CB9671CDE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B638C602-8F7A-FF4F-9436-99BFF634F80A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F5E8575C-58DF-6F4D-846B-64E64AEAD4B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7F689E54-3DDE-9146-9E71-0F9EF77EB584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E200D3D3-053D-F342-9A67-0E660D73F76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7C8EB52F-15EB-7449-9FC6-CFECD8E81D6C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56C11956-D135-0244-8935-77ECF9139C68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41BDB28-CB56-C346-9DF5-E30F5ADD0CB7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7841BCCC-4BF1-1644-8598-448D5C40EC05}"/>
                  </a:ext>
                </a:extLst>
              </p:cNvPr>
              <p:cNvSpPr txBox="1"/>
              <p:nvPr userDrawn="1"/>
            </p:nvSpPr>
            <p:spPr>
              <a:xfrm>
                <a:off x="9674267" y="547643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A0C7E1FE-3DCE-F245-ADBB-D7351343D700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47B69573-680F-C847-8FB3-E97B96F00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56E90A0-F5F3-7D4A-BCA0-0B455A043EC4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E3B8AD0A-9353-E743-98CA-44AFA4D7C166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B0E8F800-E1AB-E746-8851-BE07C9573DF5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90" name="Rectangle 89">
                    <a:extLst>
                      <a:ext uri="{FF2B5EF4-FFF2-40B4-BE49-F238E27FC236}">
                        <a16:creationId xmlns:a16="http://schemas.microsoft.com/office/drawing/2014/main" id="{F0341023-B297-EE44-B1E7-3A1B988C0D3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1" name="TextBox 90">
                    <a:extLst>
                      <a:ext uri="{FF2B5EF4-FFF2-40B4-BE49-F238E27FC236}">
                        <a16:creationId xmlns:a16="http://schemas.microsoft.com/office/drawing/2014/main" id="{004FF57D-84DA-054C-BAE1-86A84ADB8BFA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92" name="TextBox 91">
                    <a:extLst>
                      <a:ext uri="{FF2B5EF4-FFF2-40B4-BE49-F238E27FC236}">
                        <a16:creationId xmlns:a16="http://schemas.microsoft.com/office/drawing/2014/main" id="{14A089B3-40F5-BA48-9C89-18CED644A60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56" name="Graphic 55">
                  <a:extLst>
                    <a:ext uri="{FF2B5EF4-FFF2-40B4-BE49-F238E27FC236}">
                      <a16:creationId xmlns:a16="http://schemas.microsoft.com/office/drawing/2014/main" id="{0F683FF8-BB88-8D4C-AFF7-96AC3276CB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CF48C183-4FC2-8B43-8812-4E977634650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1676381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and Text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F7232953-10D7-9346-B58D-EA3D767D05C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2360" y="1233641"/>
            <a:ext cx="2467429" cy="1466077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5852B5E0-86AD-3749-B882-594E0C7618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38925" y="1233488"/>
            <a:ext cx="2467068" cy="1466229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CF4AE758-84F6-C54D-A7DE-052D01982D22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431800" y="2147777"/>
            <a:ext cx="2467429" cy="551940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502" name="Caption 2">
            <a:extLst>
              <a:ext uri="{FF2B5EF4-FFF2-40B4-BE49-F238E27FC236}">
                <a16:creationId xmlns:a16="http://schemas.microsoft.com/office/drawing/2014/main" id="{AC269ED5-A2B1-6A4F-BE9E-2525E65191C5}"/>
              </a:ext>
            </a:extLst>
          </p:cNvPr>
          <p:cNvSpPr>
            <a:spLocks noGrp="1"/>
          </p:cNvSpPr>
          <p:nvPr>
            <p:ph type="body" sz="quarter" idx="502" hasCustomPrompt="1"/>
          </p:nvPr>
        </p:nvSpPr>
        <p:spPr>
          <a:xfrm>
            <a:off x="3338281" y="2147777"/>
            <a:ext cx="2467429" cy="551940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100" name="Photo">
            <a:extLst>
              <a:ext uri="{FF2B5EF4-FFF2-40B4-BE49-F238E27FC236}">
                <a16:creationId xmlns:a16="http://schemas.microsoft.com/office/drawing/2014/main" id="{A5A98BB7-3BBC-BF47-A9BC-1EE83DF5EEF5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6245129" y="1233488"/>
            <a:ext cx="2467068" cy="1466229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8F1C867-7832-304B-B6CD-BF0427937307}"/>
              </a:ext>
            </a:extLst>
          </p:cNvPr>
          <p:cNvGrpSpPr/>
          <p:nvPr userDrawn="1"/>
        </p:nvGrpSpPr>
        <p:grpSpPr>
          <a:xfrm>
            <a:off x="3119357" y="1233487"/>
            <a:ext cx="2906204" cy="4932363"/>
            <a:chOff x="3119357" y="1233487"/>
            <a:chExt cx="2906204" cy="4861079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ED753A27-0B53-3B44-A318-323612277CF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119357" y="1233487"/>
              <a:ext cx="0" cy="4861079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0281FD7-9911-134B-A7C9-82C3663644A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25561" y="1233487"/>
              <a:ext cx="0" cy="4861079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4" name="Caption 3">
            <a:extLst>
              <a:ext uri="{FF2B5EF4-FFF2-40B4-BE49-F238E27FC236}">
                <a16:creationId xmlns:a16="http://schemas.microsoft.com/office/drawing/2014/main" id="{42868E29-E783-A54C-A4B5-63DAB28D5BEF}"/>
              </a:ext>
            </a:extLst>
          </p:cNvPr>
          <p:cNvSpPr>
            <a:spLocks noGrp="1"/>
          </p:cNvSpPr>
          <p:nvPr>
            <p:ph type="body" sz="quarter" idx="504" hasCustomPrompt="1"/>
          </p:nvPr>
        </p:nvSpPr>
        <p:spPr>
          <a:xfrm>
            <a:off x="6244767" y="2147777"/>
            <a:ext cx="2467429" cy="551940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499" name="Text Placeholder 1">
            <a:extLst>
              <a:ext uri="{FF2B5EF4-FFF2-40B4-BE49-F238E27FC236}">
                <a16:creationId xmlns:a16="http://schemas.microsoft.com/office/drawing/2014/main" id="{092CA0F9-EE9F-8C4F-9A14-8B88D9656C37}"/>
              </a:ext>
            </a:extLst>
          </p:cNvPr>
          <p:cNvSpPr>
            <a:spLocks noGrp="1"/>
          </p:cNvSpPr>
          <p:nvPr>
            <p:ph type="body" sz="quarter" idx="499"/>
          </p:nvPr>
        </p:nvSpPr>
        <p:spPr>
          <a:xfrm>
            <a:off x="431801" y="2866844"/>
            <a:ext cx="2467428" cy="3299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781EEB42-430C-9948-97C1-B9A99786D432}"/>
              </a:ext>
            </a:extLst>
          </p:cNvPr>
          <p:cNvSpPr>
            <a:spLocks noGrp="1"/>
          </p:cNvSpPr>
          <p:nvPr>
            <p:ph type="body" sz="quarter" idx="501"/>
          </p:nvPr>
        </p:nvSpPr>
        <p:spPr>
          <a:xfrm>
            <a:off x="3338281" y="2866844"/>
            <a:ext cx="2467428" cy="3299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03" name="Text Placeholder 3">
            <a:extLst>
              <a:ext uri="{FF2B5EF4-FFF2-40B4-BE49-F238E27FC236}">
                <a16:creationId xmlns:a16="http://schemas.microsoft.com/office/drawing/2014/main" id="{8C3607B2-9D2D-5E49-86D7-3D3FC05F0012}"/>
              </a:ext>
            </a:extLst>
          </p:cNvPr>
          <p:cNvSpPr>
            <a:spLocks noGrp="1"/>
          </p:cNvSpPr>
          <p:nvPr>
            <p:ph type="body" sz="quarter" idx="503"/>
          </p:nvPr>
        </p:nvSpPr>
        <p:spPr>
          <a:xfrm>
            <a:off x="6244768" y="2866844"/>
            <a:ext cx="2467428" cy="3299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0EF6CB6B-94CC-654E-AE09-4DED2D6EA76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895EACF-4F1C-3842-A7FF-4AC5A2D2E696}"/>
              </a:ext>
            </a:extLst>
          </p:cNvPr>
          <p:cNvSpPr>
            <a:spLocks noGrp="1"/>
          </p:cNvSpPr>
          <p:nvPr>
            <p:ph type="dt" sz="half" idx="1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6214F30-9FE6-D845-91CA-9835E0CF8D52}"/>
              </a:ext>
            </a:extLst>
          </p:cNvPr>
          <p:cNvSpPr>
            <a:spLocks noGrp="1"/>
          </p:cNvSpPr>
          <p:nvPr>
            <p:ph type="ftr" sz="quarter" idx="1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3172460-2E71-5943-A56D-3D902E900BD0}"/>
              </a:ext>
            </a:extLst>
          </p:cNvPr>
          <p:cNvSpPr>
            <a:spLocks noGrp="1"/>
          </p:cNvSpPr>
          <p:nvPr>
            <p:ph type="sldNum" sz="quarter" idx="11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B420A68-79DB-DB41-B02A-F2E31E6651C4}"/>
              </a:ext>
            </a:extLst>
          </p:cNvPr>
          <p:cNvGrpSpPr/>
          <p:nvPr userDrawn="1"/>
        </p:nvGrpSpPr>
        <p:grpSpPr>
          <a:xfrm>
            <a:off x="9399182" y="-2"/>
            <a:ext cx="2974470" cy="9769405"/>
            <a:chOff x="9399182" y="-2"/>
            <a:chExt cx="2974470" cy="9769405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FD61CBE-4EF4-9744-9738-8709C50F1AFF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A3D0F9C7-1B58-504B-9BB8-DB9D4FABA97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5358C56-D8B9-2D44-A534-272FE4FBDFF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95659F2A-19A0-4447-8057-CFEE8FF56B20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B67C9E65-EC19-3442-B39D-EF200814B68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323C1721-626E-314E-A318-8CD718694A2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B17DCDDF-F1BE-DE4A-A470-27619CEB4EA1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E6F2A99C-3FE4-AD45-B484-C0BE917FD294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FB66869C-518A-4E44-A5D8-215292EBAD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1E6E8BDE-A518-5A4C-8679-EEE8B59A8496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856B91D7-AFB6-D14D-9C1A-039849E808D4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29" name="Rectangle 128">
                  <a:extLst>
                    <a:ext uri="{FF2B5EF4-FFF2-40B4-BE49-F238E27FC236}">
                      <a16:creationId xmlns:a16="http://schemas.microsoft.com/office/drawing/2014/main" id="{FD2AE5C6-3677-724F-92E6-5538D45B8D48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0" name="TextBox 129">
                  <a:extLst>
                    <a:ext uri="{FF2B5EF4-FFF2-40B4-BE49-F238E27FC236}">
                      <a16:creationId xmlns:a16="http://schemas.microsoft.com/office/drawing/2014/main" id="{FA964FC1-48D0-784E-9777-5823D5FA266D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31" name="Graphic 130">
                  <a:extLst>
                    <a:ext uri="{FF2B5EF4-FFF2-40B4-BE49-F238E27FC236}">
                      <a16:creationId xmlns:a16="http://schemas.microsoft.com/office/drawing/2014/main" id="{9A1BCB32-2903-F44E-8F4D-87C1D9ADEAA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32" name="TextBox 131">
                  <a:extLst>
                    <a:ext uri="{FF2B5EF4-FFF2-40B4-BE49-F238E27FC236}">
                      <a16:creationId xmlns:a16="http://schemas.microsoft.com/office/drawing/2014/main" id="{55BE347B-59DF-6947-A01C-B5DC935B739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31AE7AC1-83E2-C248-979E-EF4CCB978969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34ED295B-81B0-9948-AC39-03FB2489D319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FA21885C-5903-6E41-AC43-23C29B0342C1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20" name="Rectangle 119">
                  <a:extLst>
                    <a:ext uri="{FF2B5EF4-FFF2-40B4-BE49-F238E27FC236}">
                      <a16:creationId xmlns:a16="http://schemas.microsoft.com/office/drawing/2014/main" id="{0CBDA1BF-3DF5-AF4A-A75B-16654E5BBE0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FB9070B7-F38E-B145-B116-93DD07A0ED7F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26" name="Graphic 125">
                  <a:extLst>
                    <a:ext uri="{FF2B5EF4-FFF2-40B4-BE49-F238E27FC236}">
                      <a16:creationId xmlns:a16="http://schemas.microsoft.com/office/drawing/2014/main" id="{05297A0C-0DFC-3F40-AA58-4B1BF710AC1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B2923AFA-67A9-EE4B-A5F0-0027855F0D74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28" name="Picture 127">
                  <a:extLst>
                    <a:ext uri="{FF2B5EF4-FFF2-40B4-BE49-F238E27FC236}">
                      <a16:creationId xmlns:a16="http://schemas.microsoft.com/office/drawing/2014/main" id="{140F5F94-D2B2-394D-8B07-BF813910FA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F33273B7-FF85-EB44-BD0E-E50B420269F5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117" name="TextBox 116">
                  <a:extLst>
                    <a:ext uri="{FF2B5EF4-FFF2-40B4-BE49-F238E27FC236}">
                      <a16:creationId xmlns:a16="http://schemas.microsoft.com/office/drawing/2014/main" id="{842D6F5C-1CCA-7743-AA36-CF22419CFF39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3B5E7011-3C06-A54E-BC42-0AC71F26919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19" name="TextBox 118">
                  <a:extLst>
                    <a:ext uri="{FF2B5EF4-FFF2-40B4-BE49-F238E27FC236}">
                      <a16:creationId xmlns:a16="http://schemas.microsoft.com/office/drawing/2014/main" id="{8BABC65A-2E00-2C47-8534-CC7BF92B8C44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1200E688-1FCE-BE4D-ADD7-CEC6FCA2EEFD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7785D546-828D-3146-ACAC-55A0A0A07D3C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3BD9DF96-0C2D-4240-A433-266ED2D6EDFD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E6D29337-01D2-6545-ADD5-AB53F0139F0B}"/>
                  </a:ext>
                </a:extLst>
              </p:cNvPr>
              <p:cNvSpPr txBox="1"/>
              <p:nvPr userDrawn="1"/>
            </p:nvSpPr>
            <p:spPr>
              <a:xfrm>
                <a:off x="9674267" y="547643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A6874E17-02C1-C946-A42C-55A813E95DDC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676D275-6C7A-794E-B3A4-9C0D2F01BA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9E39727D-7666-D944-A279-9C6F9F522EAA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D43C113E-CE1B-0E46-8157-A4043B1705E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2F7911CF-19AC-2E45-BF56-1473CD99BDBB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04" name="Rectangle 103">
                    <a:extLst>
                      <a:ext uri="{FF2B5EF4-FFF2-40B4-BE49-F238E27FC236}">
                        <a16:creationId xmlns:a16="http://schemas.microsoft.com/office/drawing/2014/main" id="{21935321-67DF-0942-B103-5EBEA1A11C6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05" name="TextBox 104">
                    <a:extLst>
                      <a:ext uri="{FF2B5EF4-FFF2-40B4-BE49-F238E27FC236}">
                        <a16:creationId xmlns:a16="http://schemas.microsoft.com/office/drawing/2014/main" id="{5084153E-429E-984E-9780-BCE1637F49BF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06" name="TextBox 105">
                    <a:extLst>
                      <a:ext uri="{FF2B5EF4-FFF2-40B4-BE49-F238E27FC236}">
                        <a16:creationId xmlns:a16="http://schemas.microsoft.com/office/drawing/2014/main" id="{FD4E6000-FEEF-524E-88BD-FDBE78CDD820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03" name="Graphic 102">
                  <a:extLst>
                    <a:ext uri="{FF2B5EF4-FFF2-40B4-BE49-F238E27FC236}">
                      <a16:creationId xmlns:a16="http://schemas.microsoft.com/office/drawing/2014/main" id="{A25C8F3C-F2C1-8A40-AD08-DDCA82F39ED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01" name="Picture 100">
                <a:extLst>
                  <a:ext uri="{FF2B5EF4-FFF2-40B4-BE49-F238E27FC236}">
                    <a16:creationId xmlns:a16="http://schemas.microsoft.com/office/drawing/2014/main" id="{BC4EC8E7-BEED-1048-9857-E678954434A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9514207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and Text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D753A27-0B53-3B44-A318-323612277CF2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561949" y="-1298971"/>
            <a:ext cx="0" cy="8260335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0281FD7-9911-134B-A7C9-82C3663644A9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561949" y="430520"/>
            <a:ext cx="0" cy="8260335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Text Placeholder 1">
            <a:extLst>
              <a:ext uri="{FF2B5EF4-FFF2-40B4-BE49-F238E27FC236}">
                <a16:creationId xmlns:a16="http://schemas.microsoft.com/office/drawing/2014/main" id="{EA8D8CC5-DDED-9445-8A9A-D06B2B9A91DE}"/>
              </a:ext>
            </a:extLst>
          </p:cNvPr>
          <p:cNvSpPr>
            <a:spLocks noGrp="1"/>
          </p:cNvSpPr>
          <p:nvPr>
            <p:ph type="body" sz="quarter" idx="499"/>
          </p:nvPr>
        </p:nvSpPr>
        <p:spPr>
          <a:xfrm>
            <a:off x="2854325" y="1233488"/>
            <a:ext cx="5857489" cy="1466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01" name="Text Placeholder 2">
            <a:extLst>
              <a:ext uri="{FF2B5EF4-FFF2-40B4-BE49-F238E27FC236}">
                <a16:creationId xmlns:a16="http://schemas.microsoft.com/office/drawing/2014/main" id="{65A45B82-A28A-C541-9948-969822196900}"/>
              </a:ext>
            </a:extLst>
          </p:cNvPr>
          <p:cNvSpPr>
            <a:spLocks noGrp="1"/>
          </p:cNvSpPr>
          <p:nvPr>
            <p:ph type="body" sz="quarter" idx="501"/>
          </p:nvPr>
        </p:nvSpPr>
        <p:spPr>
          <a:xfrm>
            <a:off x="2854325" y="2962517"/>
            <a:ext cx="5857489" cy="1466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03" name="Text Placeholder 3">
            <a:extLst>
              <a:ext uri="{FF2B5EF4-FFF2-40B4-BE49-F238E27FC236}">
                <a16:creationId xmlns:a16="http://schemas.microsoft.com/office/drawing/2014/main" id="{8B46136D-9E6B-7348-A230-0C0B61F4043F}"/>
              </a:ext>
            </a:extLst>
          </p:cNvPr>
          <p:cNvSpPr>
            <a:spLocks noGrp="1"/>
          </p:cNvSpPr>
          <p:nvPr>
            <p:ph type="body" sz="quarter" idx="503"/>
          </p:nvPr>
        </p:nvSpPr>
        <p:spPr>
          <a:xfrm>
            <a:off x="2854325" y="4691546"/>
            <a:ext cx="5857489" cy="1466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A9BB490B-C309-B748-9B19-AF93AAACA3C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6F749DAD-56A6-D649-9F35-5B56FF579CB0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432360" y="1233641"/>
            <a:ext cx="2172295" cy="1466077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D94C6D6D-4FAA-B44F-ACF0-6E5AB0A38656}"/>
              </a:ext>
            </a:extLst>
          </p:cNvPr>
          <p:cNvSpPr>
            <a:spLocks noGrp="1"/>
          </p:cNvSpPr>
          <p:nvPr userDrawn="1">
            <p:ph type="body" sz="quarter" idx="500" hasCustomPrompt="1"/>
          </p:nvPr>
        </p:nvSpPr>
        <p:spPr>
          <a:xfrm>
            <a:off x="431800" y="2147777"/>
            <a:ext cx="2172295" cy="551940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2D1E164C-A44E-6C43-B08A-9A9E7394EE60}"/>
              </a:ext>
            </a:extLst>
          </p:cNvPr>
          <p:cNvSpPr>
            <a:spLocks noGrp="1"/>
          </p:cNvSpPr>
          <p:nvPr userDrawn="1">
            <p:ph type="pic" sz="quarter" idx="121" hasCustomPrompt="1"/>
          </p:nvPr>
        </p:nvSpPr>
        <p:spPr>
          <a:xfrm>
            <a:off x="432360" y="2962055"/>
            <a:ext cx="2172295" cy="1466077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502" name="Caption 2">
            <a:extLst>
              <a:ext uri="{FF2B5EF4-FFF2-40B4-BE49-F238E27FC236}">
                <a16:creationId xmlns:a16="http://schemas.microsoft.com/office/drawing/2014/main" id="{72DD6B82-4027-214C-907A-917585DE52E2}"/>
              </a:ext>
            </a:extLst>
          </p:cNvPr>
          <p:cNvSpPr>
            <a:spLocks noGrp="1"/>
          </p:cNvSpPr>
          <p:nvPr userDrawn="1">
            <p:ph type="body" sz="quarter" idx="502" hasCustomPrompt="1"/>
          </p:nvPr>
        </p:nvSpPr>
        <p:spPr>
          <a:xfrm>
            <a:off x="431800" y="3876191"/>
            <a:ext cx="2172295" cy="551940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12ACC18C-7823-4243-80B6-3AD22ABEB0F0}"/>
              </a:ext>
            </a:extLst>
          </p:cNvPr>
          <p:cNvSpPr>
            <a:spLocks noGrp="1"/>
          </p:cNvSpPr>
          <p:nvPr userDrawn="1">
            <p:ph type="pic" sz="quarter" idx="123" hasCustomPrompt="1"/>
          </p:nvPr>
        </p:nvSpPr>
        <p:spPr>
          <a:xfrm>
            <a:off x="432360" y="4691544"/>
            <a:ext cx="2172295" cy="1466077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504" name="Caption 3">
            <a:extLst>
              <a:ext uri="{FF2B5EF4-FFF2-40B4-BE49-F238E27FC236}">
                <a16:creationId xmlns:a16="http://schemas.microsoft.com/office/drawing/2014/main" id="{BFF4272A-93C5-194D-96DD-141C47B60F8F}"/>
              </a:ext>
            </a:extLst>
          </p:cNvPr>
          <p:cNvSpPr>
            <a:spLocks noGrp="1"/>
          </p:cNvSpPr>
          <p:nvPr userDrawn="1">
            <p:ph type="body" sz="quarter" idx="504" hasCustomPrompt="1"/>
          </p:nvPr>
        </p:nvSpPr>
        <p:spPr>
          <a:xfrm>
            <a:off x="431800" y="5605680"/>
            <a:ext cx="2172295" cy="551940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5C0E79-A3BD-5144-8C77-5A57F1DFDA10}"/>
              </a:ext>
            </a:extLst>
          </p:cNvPr>
          <p:cNvSpPr>
            <a:spLocks noGrp="1"/>
          </p:cNvSpPr>
          <p:nvPr userDrawn="1">
            <p:ph type="dt" sz="half" idx="1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A4A8FA1-CC46-7144-84B1-17C00BC259EB}"/>
              </a:ext>
            </a:extLst>
          </p:cNvPr>
          <p:cNvSpPr>
            <a:spLocks noGrp="1"/>
          </p:cNvSpPr>
          <p:nvPr userDrawn="1">
            <p:ph type="ftr" sz="quarter" idx="1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CB2D2FD-3057-D74D-B44D-0EB64193CE1C}"/>
              </a:ext>
            </a:extLst>
          </p:cNvPr>
          <p:cNvSpPr>
            <a:spLocks noGrp="1"/>
          </p:cNvSpPr>
          <p:nvPr userDrawn="1">
            <p:ph type="sldNum" sz="quarter" idx="12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05E9C379-DDF1-7B44-89A9-61472AAB938F}"/>
              </a:ext>
            </a:extLst>
          </p:cNvPr>
          <p:cNvGrpSpPr/>
          <p:nvPr userDrawn="1"/>
        </p:nvGrpSpPr>
        <p:grpSpPr>
          <a:xfrm>
            <a:off x="9399182" y="-2"/>
            <a:ext cx="2974470" cy="9769405"/>
            <a:chOff x="9399182" y="-2"/>
            <a:chExt cx="2974470" cy="9769405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02AA4587-5464-694B-A0E3-F705C2D6C38B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184225E7-8754-CD4D-AE0E-53076B2707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53ED5C7E-A3C9-E44F-9C13-86E78B48E65F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ACE05B8D-FE1E-1145-90BB-9998F8CA2CAB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443BD4B2-7A49-7B4D-A180-98D5EB1AD433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8" name="Picture 137">
                <a:extLst>
                  <a:ext uri="{FF2B5EF4-FFF2-40B4-BE49-F238E27FC236}">
                    <a16:creationId xmlns:a16="http://schemas.microsoft.com/office/drawing/2014/main" id="{08065AFB-7BEE-0F47-BED7-2DE8C591FB2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64EAB81-6824-4047-9BA3-6AFFE7AE03F3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B89A63E2-40AE-6F46-A362-BFE20BF1B080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1DD9B0EE-DBC0-FE43-992A-95582817972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2099CD36-FA5E-D446-83AD-9BEB40BDDA39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506D11A7-2578-BA40-896C-CE07CC36B340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234AFB33-F664-1B42-AC5B-833976E236C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1" name="TextBox 130">
                  <a:extLst>
                    <a:ext uri="{FF2B5EF4-FFF2-40B4-BE49-F238E27FC236}">
                      <a16:creationId xmlns:a16="http://schemas.microsoft.com/office/drawing/2014/main" id="{DC3973FE-EA67-1446-90F5-00311B24E762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32" name="Graphic 131">
                  <a:extLst>
                    <a:ext uri="{FF2B5EF4-FFF2-40B4-BE49-F238E27FC236}">
                      <a16:creationId xmlns:a16="http://schemas.microsoft.com/office/drawing/2014/main" id="{9754AA2E-1658-B94E-BD64-D044C2E502B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DFCE0AA6-50EE-9641-B168-FBEF90AE66A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34" name="TextBox 133">
                  <a:extLst>
                    <a:ext uri="{FF2B5EF4-FFF2-40B4-BE49-F238E27FC236}">
                      <a16:creationId xmlns:a16="http://schemas.microsoft.com/office/drawing/2014/main" id="{A15B11FC-4E91-5D4F-8B9F-F43F6D56913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35" name="TextBox 134">
                  <a:extLst>
                    <a:ext uri="{FF2B5EF4-FFF2-40B4-BE49-F238E27FC236}">
                      <a16:creationId xmlns:a16="http://schemas.microsoft.com/office/drawing/2014/main" id="{93BEE3EB-479B-2440-BD75-3378D4FCFF3D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434F34EB-E608-1447-8D3A-0EA4F1F48519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E32A3E2E-D1F0-9741-A8EE-7BC84B4DE0D3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BDA4BD56-D03C-1548-978A-67CE2301B253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27" name="Graphic 126">
                  <a:extLst>
                    <a:ext uri="{FF2B5EF4-FFF2-40B4-BE49-F238E27FC236}">
                      <a16:creationId xmlns:a16="http://schemas.microsoft.com/office/drawing/2014/main" id="{02277E74-6CD2-4746-AB10-BAC27E952C6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2E41B035-7E95-6047-BBDE-7C5B9457A0AD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29" name="Picture 128">
                  <a:extLst>
                    <a:ext uri="{FF2B5EF4-FFF2-40B4-BE49-F238E27FC236}">
                      <a16:creationId xmlns:a16="http://schemas.microsoft.com/office/drawing/2014/main" id="{7B58D3BB-E0DF-CE47-A88C-EBD63D7D6A4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C8A25EA3-4BB5-0948-9768-F661F9D2B441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812E9279-E3E5-A242-A2DB-550E662BE6CB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916869B2-51AC-8042-BAC1-566B99834406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6A901D3D-F415-AC4E-A011-9D50733FCE8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EA1A97BD-9E28-EB42-8C33-224FE0567041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FCE719BC-ADE3-DB4E-AE64-4310A0F56B22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CF2AA2C7-9C18-8E48-8CD9-713923D584C0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073AAC87-9D0B-A942-AEAB-5498BE1CDE42}"/>
                  </a:ext>
                </a:extLst>
              </p:cNvPr>
              <p:cNvSpPr txBox="1"/>
              <p:nvPr userDrawn="1"/>
            </p:nvSpPr>
            <p:spPr>
              <a:xfrm>
                <a:off x="9674267" y="547643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2718DEAF-7355-D24A-A55A-6E5AFED9A98E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08EADCA-2DBF-C447-BEEC-89115265ADF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0D81BAF-EA14-5342-B457-9F03F6415490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787A14E2-9B41-3441-B537-57155291B0D0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D9193720-38CB-8C45-8CB5-9F66BE5437DF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71" name="Rectangle 70">
                    <a:extLst>
                      <a:ext uri="{FF2B5EF4-FFF2-40B4-BE49-F238E27FC236}">
                        <a16:creationId xmlns:a16="http://schemas.microsoft.com/office/drawing/2014/main" id="{9661E725-6578-9A4A-B314-D6021CB4CFB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2" name="TextBox 71">
                    <a:extLst>
                      <a:ext uri="{FF2B5EF4-FFF2-40B4-BE49-F238E27FC236}">
                        <a16:creationId xmlns:a16="http://schemas.microsoft.com/office/drawing/2014/main" id="{6A82AECB-20FC-D04F-9436-9AA74FD66C5B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76348B4A-2ADC-7F46-BABF-CA32F5E68A17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70" name="Graphic 69">
                  <a:extLst>
                    <a:ext uri="{FF2B5EF4-FFF2-40B4-BE49-F238E27FC236}">
                      <a16:creationId xmlns:a16="http://schemas.microsoft.com/office/drawing/2014/main" id="{C86CE353-C5DB-0145-AA86-27F6522447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9DB6EC41-E4FA-B54E-A44A-FE32BE140AB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2438168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Logo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D753A27-0B53-3B44-A318-323612277CF2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561949" y="-1298971"/>
            <a:ext cx="0" cy="8260335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0281FD7-9911-134B-A7C9-82C3663644A9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4561949" y="430520"/>
            <a:ext cx="0" cy="8260335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8D8CC5-DDED-9445-8A9A-D06B2B9A91DE}"/>
              </a:ext>
            </a:extLst>
          </p:cNvPr>
          <p:cNvSpPr>
            <a:spLocks noGrp="1"/>
          </p:cNvSpPr>
          <p:nvPr>
            <p:ph type="body" sz="quarter" idx="115"/>
          </p:nvPr>
        </p:nvSpPr>
        <p:spPr>
          <a:xfrm>
            <a:off x="2854325" y="1233488"/>
            <a:ext cx="5857489" cy="1466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5A45B82-A28A-C541-9948-969822196900}"/>
              </a:ext>
            </a:extLst>
          </p:cNvPr>
          <p:cNvSpPr>
            <a:spLocks noGrp="1"/>
          </p:cNvSpPr>
          <p:nvPr>
            <p:ph type="body" sz="quarter" idx="116"/>
          </p:nvPr>
        </p:nvSpPr>
        <p:spPr>
          <a:xfrm>
            <a:off x="2854325" y="2962517"/>
            <a:ext cx="5857489" cy="1466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B46136D-9E6B-7348-A230-0C0B61F4043F}"/>
              </a:ext>
            </a:extLst>
          </p:cNvPr>
          <p:cNvSpPr>
            <a:spLocks noGrp="1"/>
          </p:cNvSpPr>
          <p:nvPr>
            <p:ph type="body" sz="quarter" idx="117"/>
          </p:nvPr>
        </p:nvSpPr>
        <p:spPr>
          <a:xfrm>
            <a:off x="2854325" y="4691546"/>
            <a:ext cx="5857489" cy="1466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A9BB490B-C309-B748-9B19-AF93AAACA3C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D5C0E79-A3BD-5144-8C77-5A57F1DFDA10}"/>
              </a:ext>
            </a:extLst>
          </p:cNvPr>
          <p:cNvSpPr>
            <a:spLocks noGrp="1"/>
          </p:cNvSpPr>
          <p:nvPr>
            <p:ph type="dt" sz="half" idx="1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A4A8FA1-CC46-7144-84B1-17C00BC259EB}"/>
              </a:ext>
            </a:extLst>
          </p:cNvPr>
          <p:cNvSpPr>
            <a:spLocks noGrp="1"/>
          </p:cNvSpPr>
          <p:nvPr>
            <p:ph type="ftr" sz="quarter" idx="12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CB2D2FD-3057-D74D-B44D-0EB64193CE1C}"/>
              </a:ext>
            </a:extLst>
          </p:cNvPr>
          <p:cNvSpPr>
            <a:spLocks noGrp="1"/>
          </p:cNvSpPr>
          <p:nvPr>
            <p:ph type="sldNum" sz="quarter" idx="12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ACE0C3-0640-2343-BA09-F3EFC7CFB949}"/>
              </a:ext>
            </a:extLst>
          </p:cNvPr>
          <p:cNvSpPr>
            <a:spLocks noGrp="1"/>
          </p:cNvSpPr>
          <p:nvPr>
            <p:ph sz="quarter" idx="128" hasCustomPrompt="1"/>
          </p:nvPr>
        </p:nvSpPr>
        <p:spPr>
          <a:xfrm>
            <a:off x="431800" y="1233488"/>
            <a:ext cx="2238375" cy="1466850"/>
          </a:xfrm>
        </p:spPr>
        <p:txBody>
          <a:bodyPr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mage icon to add logo (do not add any other types of content)</a:t>
            </a:r>
          </a:p>
        </p:txBody>
      </p:sp>
      <p:sp>
        <p:nvSpPr>
          <p:cNvPr id="56" name="Content Placeholder 4">
            <a:extLst>
              <a:ext uri="{FF2B5EF4-FFF2-40B4-BE49-F238E27FC236}">
                <a16:creationId xmlns:a16="http://schemas.microsoft.com/office/drawing/2014/main" id="{3B8A4E6F-E1C9-9641-B3D3-BDB9B2012DBB}"/>
              </a:ext>
            </a:extLst>
          </p:cNvPr>
          <p:cNvSpPr>
            <a:spLocks noGrp="1"/>
          </p:cNvSpPr>
          <p:nvPr>
            <p:ph sz="quarter" idx="129" hasCustomPrompt="1"/>
          </p:nvPr>
        </p:nvSpPr>
        <p:spPr>
          <a:xfrm>
            <a:off x="431800" y="2962517"/>
            <a:ext cx="2238375" cy="1466850"/>
          </a:xfrm>
        </p:spPr>
        <p:txBody>
          <a:bodyPr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mage icon to add logo (do not add any other types of content)</a:t>
            </a:r>
          </a:p>
        </p:txBody>
      </p:sp>
      <p:sp>
        <p:nvSpPr>
          <p:cNvPr id="57" name="Content Placeholder 4">
            <a:extLst>
              <a:ext uri="{FF2B5EF4-FFF2-40B4-BE49-F238E27FC236}">
                <a16:creationId xmlns:a16="http://schemas.microsoft.com/office/drawing/2014/main" id="{04F52250-2F95-E448-A157-BA7D33261555}"/>
              </a:ext>
            </a:extLst>
          </p:cNvPr>
          <p:cNvSpPr>
            <a:spLocks noGrp="1"/>
          </p:cNvSpPr>
          <p:nvPr>
            <p:ph sz="quarter" idx="130" hasCustomPrompt="1"/>
          </p:nvPr>
        </p:nvSpPr>
        <p:spPr>
          <a:xfrm>
            <a:off x="431800" y="4691546"/>
            <a:ext cx="2238375" cy="1466850"/>
          </a:xfrm>
        </p:spPr>
        <p:txBody>
          <a:bodyPr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image icon to add logo (do not add any other types of content)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4338023-BC13-1347-A902-C2204A24D96D}"/>
              </a:ext>
            </a:extLst>
          </p:cNvPr>
          <p:cNvGrpSpPr/>
          <p:nvPr userDrawn="1"/>
        </p:nvGrpSpPr>
        <p:grpSpPr>
          <a:xfrm>
            <a:off x="9399182" y="-2"/>
            <a:ext cx="2974470" cy="9769405"/>
            <a:chOff x="9399182" y="-2"/>
            <a:chExt cx="2974470" cy="9769405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14DF298-5DBB-564B-B56C-06F534677012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87A54F67-95E3-4D47-8A30-4154E885C7C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9394EAB8-8CA4-4B4D-A004-BC8697696E5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FFD516EB-2BCB-2E43-AFF3-5121CF79D655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BF97D8B0-4B8D-B145-87DF-8E19E86AB9CF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43" name="Picture 142">
                <a:extLst>
                  <a:ext uri="{FF2B5EF4-FFF2-40B4-BE49-F238E27FC236}">
                    <a16:creationId xmlns:a16="http://schemas.microsoft.com/office/drawing/2014/main" id="{B352A88A-0AE1-F846-9CA0-DBE561C4B64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DC41A6A-6B56-8547-86A6-CBFAF67515C3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3AD32596-DA46-734D-B2A7-5DA54F93A57C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CDBD1C83-41B8-F547-BE36-B26D9D04D2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00AA5701-68AE-A84A-8CD3-773557FA6DE2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92A157E-FDF8-C647-ABDF-ED28D6D3705D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35" name="Rectangle 134">
                  <a:extLst>
                    <a:ext uri="{FF2B5EF4-FFF2-40B4-BE49-F238E27FC236}">
                      <a16:creationId xmlns:a16="http://schemas.microsoft.com/office/drawing/2014/main" id="{02B94648-6324-8142-876C-27E337B0E1FD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6" name="TextBox 135">
                  <a:extLst>
                    <a:ext uri="{FF2B5EF4-FFF2-40B4-BE49-F238E27FC236}">
                      <a16:creationId xmlns:a16="http://schemas.microsoft.com/office/drawing/2014/main" id="{0618C21E-471B-BA4C-9A32-09C947BE9431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37" name="Graphic 136">
                  <a:extLst>
                    <a:ext uri="{FF2B5EF4-FFF2-40B4-BE49-F238E27FC236}">
                      <a16:creationId xmlns:a16="http://schemas.microsoft.com/office/drawing/2014/main" id="{1D728239-808A-0B4C-862B-8E8C8EFDC1C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38" name="TextBox 137">
                  <a:extLst>
                    <a:ext uri="{FF2B5EF4-FFF2-40B4-BE49-F238E27FC236}">
                      <a16:creationId xmlns:a16="http://schemas.microsoft.com/office/drawing/2014/main" id="{2DE50146-1A5A-C242-845B-1A477E0FC2F7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39" name="TextBox 138">
                  <a:extLst>
                    <a:ext uri="{FF2B5EF4-FFF2-40B4-BE49-F238E27FC236}">
                      <a16:creationId xmlns:a16="http://schemas.microsoft.com/office/drawing/2014/main" id="{7F1E0890-D66E-AF4C-A4EE-BC824886159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A6BB6014-5278-3B4C-AB9E-A834031F548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6DAE35F0-9F0F-B740-BC72-9824D18FBCE5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75EB5A98-D7E3-3246-896C-BD7C101139E3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1" name="TextBox 130">
                  <a:extLst>
                    <a:ext uri="{FF2B5EF4-FFF2-40B4-BE49-F238E27FC236}">
                      <a16:creationId xmlns:a16="http://schemas.microsoft.com/office/drawing/2014/main" id="{50776269-501A-0947-87D0-CCEDC9337CD8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32" name="Graphic 131">
                  <a:extLst>
                    <a:ext uri="{FF2B5EF4-FFF2-40B4-BE49-F238E27FC236}">
                      <a16:creationId xmlns:a16="http://schemas.microsoft.com/office/drawing/2014/main" id="{87F48501-5A93-374F-981B-4315F4383BB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33" name="TextBox 132">
                  <a:extLst>
                    <a:ext uri="{FF2B5EF4-FFF2-40B4-BE49-F238E27FC236}">
                      <a16:creationId xmlns:a16="http://schemas.microsoft.com/office/drawing/2014/main" id="{359DA86C-29B3-2248-B674-BD1EBB7C9A93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34" name="Picture 133">
                  <a:extLst>
                    <a:ext uri="{FF2B5EF4-FFF2-40B4-BE49-F238E27FC236}">
                      <a16:creationId xmlns:a16="http://schemas.microsoft.com/office/drawing/2014/main" id="{2139862B-48B2-7C46-9307-BA667EB073A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F542BE3A-25C8-E34D-82A2-3E5EAAC9EE28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11FED43B-88E5-474E-9104-8C4173B493FA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28" name="TextBox 127">
                  <a:extLst>
                    <a:ext uri="{FF2B5EF4-FFF2-40B4-BE49-F238E27FC236}">
                      <a16:creationId xmlns:a16="http://schemas.microsoft.com/office/drawing/2014/main" id="{72D77D68-4988-744A-BA1D-53B1BBCE8BC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C0677107-2EAD-8B4A-A4DC-B850078AF29D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BAEC99EA-B6F6-1646-92FB-80FE6823066D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CF9B3E9B-05D1-8848-ADE8-D02FE87F82F0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9629908E-9915-5E43-B359-FDD0D3CB4A2F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EAF0EC84-90D9-954F-ADAB-0B3094909692}"/>
                  </a:ext>
                </a:extLst>
              </p:cNvPr>
              <p:cNvSpPr txBox="1"/>
              <p:nvPr userDrawn="1"/>
            </p:nvSpPr>
            <p:spPr>
              <a:xfrm>
                <a:off x="9674267" y="547643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0141B528-2023-7140-87BB-06308B73F35E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5BB2FFFE-D291-0E44-88F0-F0BAC04393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EB44AA9A-6F0C-7E41-8B8F-81618CAC427A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F5B9B122-6142-B94E-942E-E0B201D15CA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12" name="Group 111">
                  <a:extLst>
                    <a:ext uri="{FF2B5EF4-FFF2-40B4-BE49-F238E27FC236}">
                      <a16:creationId xmlns:a16="http://schemas.microsoft.com/office/drawing/2014/main" id="{7B291978-2AC5-9143-AD37-94A0197282B8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14" name="Rectangle 113">
                    <a:extLst>
                      <a:ext uri="{FF2B5EF4-FFF2-40B4-BE49-F238E27FC236}">
                        <a16:creationId xmlns:a16="http://schemas.microsoft.com/office/drawing/2014/main" id="{C0D2544A-D26D-3F41-BA73-D37F4F2465D4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15" name="TextBox 114">
                    <a:extLst>
                      <a:ext uri="{FF2B5EF4-FFF2-40B4-BE49-F238E27FC236}">
                        <a16:creationId xmlns:a16="http://schemas.microsoft.com/office/drawing/2014/main" id="{60035F06-47BB-404F-AB16-667FE44B13AB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16" name="TextBox 115">
                    <a:extLst>
                      <a:ext uri="{FF2B5EF4-FFF2-40B4-BE49-F238E27FC236}">
                        <a16:creationId xmlns:a16="http://schemas.microsoft.com/office/drawing/2014/main" id="{28D5443B-64CA-584A-B14F-3D6F077D622F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13" name="Graphic 112">
                  <a:extLst>
                    <a:ext uri="{FF2B5EF4-FFF2-40B4-BE49-F238E27FC236}">
                      <a16:creationId xmlns:a16="http://schemas.microsoft.com/office/drawing/2014/main" id="{86D88F2A-157A-434C-BC12-58130EFE280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11" name="Picture 110">
                <a:extLst>
                  <a:ext uri="{FF2B5EF4-FFF2-40B4-BE49-F238E27FC236}">
                    <a16:creationId xmlns:a16="http://schemas.microsoft.com/office/drawing/2014/main" id="{D10AB923-ECC0-7F44-8C4E-D2C2876526B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5132457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A2048-EDD2-F745-AD54-211B30AB7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EEC714A-A2AD-484A-890B-76F9195C9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BD8BF2-2AF8-9541-BC63-26C010B37A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1AB2A-232B-AF48-94F1-8052F8A8C0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F1CC87B0-C7F2-9F44-9F26-7CF2550160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233641"/>
            <a:ext cx="2286000" cy="4931851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41F3EA96-E39D-0348-A1BC-0B903B53550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86084" y="1233488"/>
            <a:ext cx="2286000" cy="4932362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8" name="Caption">
            <a:extLst>
              <a:ext uri="{FF2B5EF4-FFF2-40B4-BE49-F238E27FC236}">
                <a16:creationId xmlns:a16="http://schemas.microsoft.com/office/drawing/2014/main" id="{FF765415-C64D-0745-B0AB-3D196208D3B5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-559" y="4545106"/>
            <a:ext cx="2286000" cy="1620744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9" name="Caption 2">
            <a:extLst>
              <a:ext uri="{FF2B5EF4-FFF2-40B4-BE49-F238E27FC236}">
                <a16:creationId xmlns:a16="http://schemas.microsoft.com/office/drawing/2014/main" id="{A058AF6A-478D-C446-8FDA-BB66BB40EFDC}"/>
              </a:ext>
            </a:extLst>
          </p:cNvPr>
          <p:cNvSpPr>
            <a:spLocks noGrp="1"/>
          </p:cNvSpPr>
          <p:nvPr>
            <p:ph type="body" sz="quarter" idx="502" hasCustomPrompt="1"/>
          </p:nvPr>
        </p:nvSpPr>
        <p:spPr>
          <a:xfrm>
            <a:off x="2285441" y="4545106"/>
            <a:ext cx="2286000" cy="1620744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10" name="Photo">
            <a:extLst>
              <a:ext uri="{FF2B5EF4-FFF2-40B4-BE49-F238E27FC236}">
                <a16:creationId xmlns:a16="http://schemas.microsoft.com/office/drawing/2014/main" id="{512A0202-78E1-D741-BC82-143227E8914D}"/>
              </a:ext>
            </a:extLst>
          </p:cNvPr>
          <p:cNvSpPr>
            <a:spLocks noGrp="1"/>
          </p:cNvSpPr>
          <p:nvPr>
            <p:ph type="pic" sz="quarter" idx="100" hasCustomPrompt="1"/>
          </p:nvPr>
        </p:nvSpPr>
        <p:spPr>
          <a:xfrm>
            <a:off x="4571242" y="1233488"/>
            <a:ext cx="2286000" cy="4932362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4" name="Caption 3">
            <a:extLst>
              <a:ext uri="{FF2B5EF4-FFF2-40B4-BE49-F238E27FC236}">
                <a16:creationId xmlns:a16="http://schemas.microsoft.com/office/drawing/2014/main" id="{3D533D84-C7F7-CA45-8D50-AF88F17CA887}"/>
              </a:ext>
            </a:extLst>
          </p:cNvPr>
          <p:cNvSpPr>
            <a:spLocks noGrp="1"/>
          </p:cNvSpPr>
          <p:nvPr>
            <p:ph type="body" sz="quarter" idx="504" hasCustomPrompt="1"/>
          </p:nvPr>
        </p:nvSpPr>
        <p:spPr>
          <a:xfrm>
            <a:off x="4570881" y="4545106"/>
            <a:ext cx="2286000" cy="1620744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21" name="Photo">
            <a:extLst>
              <a:ext uri="{FF2B5EF4-FFF2-40B4-BE49-F238E27FC236}">
                <a16:creationId xmlns:a16="http://schemas.microsoft.com/office/drawing/2014/main" id="{8A6B6870-A91D-CD4C-849D-824612FE6646}"/>
              </a:ext>
            </a:extLst>
          </p:cNvPr>
          <p:cNvSpPr>
            <a:spLocks noGrp="1"/>
          </p:cNvSpPr>
          <p:nvPr>
            <p:ph type="pic" sz="quarter" idx="505" hasCustomPrompt="1"/>
          </p:nvPr>
        </p:nvSpPr>
        <p:spPr>
          <a:xfrm>
            <a:off x="6858000" y="1233488"/>
            <a:ext cx="2286000" cy="4932362"/>
          </a:xfr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22" name="Caption 3">
            <a:extLst>
              <a:ext uri="{FF2B5EF4-FFF2-40B4-BE49-F238E27FC236}">
                <a16:creationId xmlns:a16="http://schemas.microsoft.com/office/drawing/2014/main" id="{8DACDE04-BA10-A24B-9665-9686CF8ADBC8}"/>
              </a:ext>
            </a:extLst>
          </p:cNvPr>
          <p:cNvSpPr>
            <a:spLocks noGrp="1"/>
          </p:cNvSpPr>
          <p:nvPr>
            <p:ph type="body" sz="quarter" idx="506" hasCustomPrompt="1"/>
          </p:nvPr>
        </p:nvSpPr>
        <p:spPr>
          <a:xfrm>
            <a:off x="6857639" y="4545106"/>
            <a:ext cx="2286000" cy="1620744"/>
          </a:xfr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67000"/>
                </a:schemeClr>
              </a:gs>
            </a:gsLst>
            <a:lin ang="5400000" scaled="1"/>
          </a:gradFill>
          <a:effectLst/>
        </p:spPr>
        <p:txBody>
          <a:bodyPr wrap="square" tIns="0" rIns="180000" bIns="180000" anchor="b">
            <a:noAutofit/>
          </a:bodyPr>
          <a:lstStyle>
            <a:lvl1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9525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BE6425A-D6B1-9C42-9FF8-6B1BDD2111E9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7F06CD3-CF26-EE4B-AB60-DED6C8D6F9CC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17B8F47-0053-A745-BC3E-BCEAB1D8AEE6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28FE4F0B-DDA2-8A4A-B29A-667129CFB748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121F88A-F599-904C-A272-C9075C810E0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1E2A20B4-C22E-1E43-AC20-7640AF790E7F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09AC02A-BB41-5548-8D57-D0FEF0DA6D92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A2683D67-4490-A94E-AE4F-6D1857C59756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12A1897F-4969-9E45-86B4-067CA6602E6B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52" name="Graphic 51">
                  <a:extLst>
                    <a:ext uri="{FF2B5EF4-FFF2-40B4-BE49-F238E27FC236}">
                      <a16:creationId xmlns:a16="http://schemas.microsoft.com/office/drawing/2014/main" id="{35439718-B1E3-AB45-AB2F-F8E48DE0FF8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A522DBD7-CBEB-9B4E-8695-A6A03805465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98CFD1B1-8CD1-0542-9C92-6F1880C4EB6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0344AA54-A017-0344-AD5A-AF7F25189338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9C4C35A-48AA-1544-8019-14E037D79E1D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271FFA37-2AB4-2B40-A550-905F9F08D77E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34AF0656-4B26-B84A-8E33-57265E5F7B8C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47" name="Graphic 46">
                  <a:extLst>
                    <a:ext uri="{FF2B5EF4-FFF2-40B4-BE49-F238E27FC236}">
                      <a16:creationId xmlns:a16="http://schemas.microsoft.com/office/drawing/2014/main" id="{BB8498F9-B3B1-2549-B8AF-550228F9FF0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F28684BB-60A4-6244-8ACD-8932E203844A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D7AB3508-106A-0C4F-B290-C3FBA222A5E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71727728-ED63-FC48-ACDE-061C8C673F89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2FB9D382-9D7F-1D47-8087-B98355D54A4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id="{7B579028-EE0C-DC47-AB28-DFF135019071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DB620138-9FB3-B145-8A69-1A634C89385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C8D89CE9-6754-7A40-B9BD-2DF033C4391A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D2FF0306-7D0A-034E-A536-BECA596486DD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7CD2AB1-6289-C941-96B2-D6EE69AE6141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754A378-846E-7E44-B72A-0009F5AF6D76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912686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423DF32C-150B-B744-A7E1-5C3269E4E6A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787900" y="1112838"/>
            <a:ext cx="4356100" cy="5053013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C2598A-7FBA-894D-9FD9-C59942BC6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8B27A02-1C02-184E-8B71-04A32B7B0FFF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E3703CA0-7C6E-BE4A-9549-3CD18BE408F5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4" y="5812142"/>
            <a:ext cx="2742875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B9ACC9-FEEA-594F-95EA-7E74907FD326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C1EDE3-F4CF-9F41-BC8A-2E7BCECD6FFF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DC54D9D-3175-B84D-96C6-75A1EF65E81A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1C1B5872-F27A-8540-9155-0506D8591D38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431800" y="1233488"/>
            <a:ext cx="4140200" cy="4932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733A701-C28D-D14B-8A54-4FABF63CD244}"/>
              </a:ext>
            </a:extLst>
          </p:cNvPr>
          <p:cNvGrpSpPr/>
          <p:nvPr userDrawn="1"/>
        </p:nvGrpSpPr>
        <p:grpSpPr>
          <a:xfrm>
            <a:off x="9399182" y="-2"/>
            <a:ext cx="2974470" cy="9769405"/>
            <a:chOff x="9399182" y="-2"/>
            <a:chExt cx="2974470" cy="9769405"/>
          </a:xfrm>
        </p:grpSpPr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751DA6CE-8EF3-4A45-8D22-D0DF488812BC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B1044BAF-5A45-8449-B9C7-80FE332259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A68E120-F0E4-E945-800D-04C9368C1492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A2492CFD-ACE4-D440-8AB8-5C71505FB95A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D4154661-313C-224F-BD94-A7239272105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65" name="Picture 164">
                <a:extLst>
                  <a:ext uri="{FF2B5EF4-FFF2-40B4-BE49-F238E27FC236}">
                    <a16:creationId xmlns:a16="http://schemas.microsoft.com/office/drawing/2014/main" id="{73A77609-877B-8A42-8CB0-F890A6AF480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B5788AF6-D5BE-4D46-A7FD-EEA5EC2271BC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40357B56-9945-894E-8D94-FE78A1E1BBDA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C48E1D43-565E-C748-AA09-8B2024B0024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9609B6B1-808D-2F47-BA9D-5471F55D00F3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B05A4C93-6C32-F549-B7C2-5264AE3CC159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157" name="Rectangle 156">
                  <a:extLst>
                    <a:ext uri="{FF2B5EF4-FFF2-40B4-BE49-F238E27FC236}">
                      <a16:creationId xmlns:a16="http://schemas.microsoft.com/office/drawing/2014/main" id="{BDC5CF10-ABF4-3548-B7A9-AFF61FDC6756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8" name="TextBox 157">
                  <a:extLst>
                    <a:ext uri="{FF2B5EF4-FFF2-40B4-BE49-F238E27FC236}">
                      <a16:creationId xmlns:a16="http://schemas.microsoft.com/office/drawing/2014/main" id="{697C1DF9-78D8-F946-8AEA-97C6739BC23B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59" name="Graphic 158">
                  <a:extLst>
                    <a:ext uri="{FF2B5EF4-FFF2-40B4-BE49-F238E27FC236}">
                      <a16:creationId xmlns:a16="http://schemas.microsoft.com/office/drawing/2014/main" id="{5C2FF1FF-B1B7-6545-806F-1BDC3027171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60" name="TextBox 159">
                  <a:extLst>
                    <a:ext uri="{FF2B5EF4-FFF2-40B4-BE49-F238E27FC236}">
                      <a16:creationId xmlns:a16="http://schemas.microsoft.com/office/drawing/2014/main" id="{FA3C0A73-D511-3B49-8AC7-02179A31268C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61" name="TextBox 160">
                  <a:extLst>
                    <a:ext uri="{FF2B5EF4-FFF2-40B4-BE49-F238E27FC236}">
                      <a16:creationId xmlns:a16="http://schemas.microsoft.com/office/drawing/2014/main" id="{8EA9CE81-F075-DE47-82D8-6F158387D04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62" name="TextBox 161">
                  <a:extLst>
                    <a:ext uri="{FF2B5EF4-FFF2-40B4-BE49-F238E27FC236}">
                      <a16:creationId xmlns:a16="http://schemas.microsoft.com/office/drawing/2014/main" id="{78807420-9DBC-9A45-8A89-7CD0F4D92B9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5C351591-2472-904B-8759-942A88D16B9D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BE2203C4-AADF-9846-8B18-491BE1A24360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3" name="TextBox 152">
                  <a:extLst>
                    <a:ext uri="{FF2B5EF4-FFF2-40B4-BE49-F238E27FC236}">
                      <a16:creationId xmlns:a16="http://schemas.microsoft.com/office/drawing/2014/main" id="{0030A937-6F39-054A-AED5-ADF5A04739AF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154" name="Graphic 153">
                  <a:extLst>
                    <a:ext uri="{FF2B5EF4-FFF2-40B4-BE49-F238E27FC236}">
                      <a16:creationId xmlns:a16="http://schemas.microsoft.com/office/drawing/2014/main" id="{0537737C-2115-B947-9A78-0777F840E7B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55" name="TextBox 154">
                  <a:extLst>
                    <a:ext uri="{FF2B5EF4-FFF2-40B4-BE49-F238E27FC236}">
                      <a16:creationId xmlns:a16="http://schemas.microsoft.com/office/drawing/2014/main" id="{8BA15225-069B-8742-A8D7-CAC9185D5090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156" name="Picture 155">
                  <a:extLst>
                    <a:ext uri="{FF2B5EF4-FFF2-40B4-BE49-F238E27FC236}">
                      <a16:creationId xmlns:a16="http://schemas.microsoft.com/office/drawing/2014/main" id="{8144153B-0D79-E944-B51D-5835E26BED6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E9E4EBA5-7235-1749-BE4E-7F57283F44A6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149" name="TextBox 148">
                  <a:extLst>
                    <a:ext uri="{FF2B5EF4-FFF2-40B4-BE49-F238E27FC236}">
                      <a16:creationId xmlns:a16="http://schemas.microsoft.com/office/drawing/2014/main" id="{F2698A1D-5AA4-DC44-9F55-CBD096FE57F1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50" name="TextBox 149">
                  <a:extLst>
                    <a:ext uri="{FF2B5EF4-FFF2-40B4-BE49-F238E27FC236}">
                      <a16:creationId xmlns:a16="http://schemas.microsoft.com/office/drawing/2014/main" id="{3AE86D23-8305-5A45-A571-52B2F5C0990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151" name="TextBox 150">
                  <a:extLst>
                    <a:ext uri="{FF2B5EF4-FFF2-40B4-BE49-F238E27FC236}">
                      <a16:creationId xmlns:a16="http://schemas.microsoft.com/office/drawing/2014/main" id="{C22F969C-FAF1-8246-BD84-28276607268B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94AAA41A-0A99-B540-9DFB-E702DDC79CE0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4FB277D0-59CC-B04A-AF4B-F5F46BEA5970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D2A1627A-335B-1447-896B-7A24744C3AFE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D1D1A24B-457A-C34F-BF91-92618BD9AA84}"/>
                  </a:ext>
                </a:extLst>
              </p:cNvPr>
              <p:cNvSpPr txBox="1"/>
              <p:nvPr userDrawn="1"/>
            </p:nvSpPr>
            <p:spPr>
              <a:xfrm>
                <a:off x="9674267" y="547643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44275E70-9A90-8248-B103-32F4FC330EA0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206D460-1991-A942-841E-D63D3918283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4DDB051-6B6F-BC48-8BB7-4040D84AAB04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766FADBE-8E34-814E-96B3-2AEADDB6821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34" name="Group 133">
                  <a:extLst>
                    <a:ext uri="{FF2B5EF4-FFF2-40B4-BE49-F238E27FC236}">
                      <a16:creationId xmlns:a16="http://schemas.microsoft.com/office/drawing/2014/main" id="{AD0934A4-4B6D-554D-99CA-06DCE1F3AD20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36" name="Rectangle 135">
                    <a:extLst>
                      <a:ext uri="{FF2B5EF4-FFF2-40B4-BE49-F238E27FC236}">
                        <a16:creationId xmlns:a16="http://schemas.microsoft.com/office/drawing/2014/main" id="{53182B15-F43E-0147-B7E0-9BED83FA6B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37" name="TextBox 136">
                    <a:extLst>
                      <a:ext uri="{FF2B5EF4-FFF2-40B4-BE49-F238E27FC236}">
                        <a16:creationId xmlns:a16="http://schemas.microsoft.com/office/drawing/2014/main" id="{A7FE4E2B-60F9-B74B-9322-B2A84ADC3AE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38" name="TextBox 137">
                    <a:extLst>
                      <a:ext uri="{FF2B5EF4-FFF2-40B4-BE49-F238E27FC236}">
                        <a16:creationId xmlns:a16="http://schemas.microsoft.com/office/drawing/2014/main" id="{45C5FDA9-51EB-994D-A9B6-D74A75ECC8CA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35" name="Graphic 134">
                  <a:extLst>
                    <a:ext uri="{FF2B5EF4-FFF2-40B4-BE49-F238E27FC236}">
                      <a16:creationId xmlns:a16="http://schemas.microsoft.com/office/drawing/2014/main" id="{10990A9D-3395-D041-92DA-7AF631B632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33" name="Picture 132">
                <a:extLst>
                  <a:ext uri="{FF2B5EF4-FFF2-40B4-BE49-F238E27FC236}">
                    <a16:creationId xmlns:a16="http://schemas.microsoft.com/office/drawing/2014/main" id="{A163CE1E-05FE-3244-A292-D0B3E311C30C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4783387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Text Over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>
            <a:extLst>
              <a:ext uri="{FF2B5EF4-FFF2-40B4-BE49-F238E27FC236}">
                <a16:creationId xmlns:a16="http://schemas.microsoft.com/office/drawing/2014/main" id="{53978DEE-ECAD-2749-B8B1-A2F8338F3B0F}"/>
              </a:ext>
            </a:extLst>
          </p:cNvPr>
          <p:cNvSpPr txBox="1">
            <a:spLocks/>
          </p:cNvSpPr>
          <p:nvPr userDrawn="1"/>
        </p:nvSpPr>
        <p:spPr>
          <a:xfrm>
            <a:off x="0" y="6200776"/>
            <a:ext cx="9144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8FF2F9E-B138-B440-A76C-3B6051B4C94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112838"/>
            <a:ext cx="9144001" cy="5745162"/>
          </a:xfrm>
          <a:custGeom>
            <a:avLst/>
            <a:gdLst>
              <a:gd name="connsiteX0" fmla="*/ 8545320 w 9144001"/>
              <a:gd name="connsiteY0" fmla="*/ 5464436 h 5745162"/>
              <a:gd name="connsiteX1" fmla="*/ 8554630 w 9144001"/>
              <a:gd name="connsiteY1" fmla="*/ 5464436 h 5745162"/>
              <a:gd name="connsiteX2" fmla="*/ 8572756 w 9144001"/>
              <a:gd name="connsiteY2" fmla="*/ 5479725 h 5745162"/>
              <a:gd name="connsiteX3" fmla="*/ 8552840 w 9144001"/>
              <a:gd name="connsiteY3" fmla="*/ 5495748 h 5745162"/>
              <a:gd name="connsiteX4" fmla="*/ 8552840 w 9144001"/>
              <a:gd name="connsiteY4" fmla="*/ 5495635 h 5745162"/>
              <a:gd name="connsiteX5" fmla="*/ 8545320 w 9144001"/>
              <a:gd name="connsiteY5" fmla="*/ 5495635 h 5745162"/>
              <a:gd name="connsiteX6" fmla="*/ 8440531 w 9144001"/>
              <a:gd name="connsiteY6" fmla="*/ 5463326 h 5745162"/>
              <a:gd name="connsiteX7" fmla="*/ 8450869 w 9144001"/>
              <a:gd name="connsiteY7" fmla="*/ 5463326 h 5745162"/>
              <a:gd name="connsiteX8" fmla="*/ 8486566 w 9144001"/>
              <a:gd name="connsiteY8" fmla="*/ 5494375 h 5745162"/>
              <a:gd name="connsiteX9" fmla="*/ 8452487 w 9144001"/>
              <a:gd name="connsiteY9" fmla="*/ 5527456 h 5745162"/>
              <a:gd name="connsiteX10" fmla="*/ 8440531 w 9144001"/>
              <a:gd name="connsiteY10" fmla="*/ 5527456 h 5745162"/>
              <a:gd name="connsiteX11" fmla="*/ 8359312 w 9144001"/>
              <a:gd name="connsiteY11" fmla="*/ 5441906 h 5745162"/>
              <a:gd name="connsiteX12" fmla="*/ 8357846 w 9144001"/>
              <a:gd name="connsiteY12" fmla="*/ 5445009 h 5745162"/>
              <a:gd name="connsiteX13" fmla="*/ 8338065 w 9144001"/>
              <a:gd name="connsiteY13" fmla="*/ 5486815 h 5745162"/>
              <a:gd name="connsiteX14" fmla="*/ 8338065 w 9144001"/>
              <a:gd name="connsiteY14" fmla="*/ 5548726 h 5745162"/>
              <a:gd name="connsiteX15" fmla="*/ 8406528 w 9144001"/>
              <a:gd name="connsiteY15" fmla="*/ 5548726 h 5745162"/>
              <a:gd name="connsiteX16" fmla="*/ 8406528 w 9144001"/>
              <a:gd name="connsiteY16" fmla="*/ 5526139 h 5745162"/>
              <a:gd name="connsiteX17" fmla="*/ 8363158 w 9144001"/>
              <a:gd name="connsiteY17" fmla="*/ 5526139 h 5745162"/>
              <a:gd name="connsiteX18" fmla="*/ 8363158 w 9144001"/>
              <a:gd name="connsiteY18" fmla="*/ 5505302 h 5745162"/>
              <a:gd name="connsiteX19" fmla="*/ 8402682 w 9144001"/>
              <a:gd name="connsiteY19" fmla="*/ 5505302 h 5745162"/>
              <a:gd name="connsiteX20" fmla="*/ 8402682 w 9144001"/>
              <a:gd name="connsiteY20" fmla="*/ 5483731 h 5745162"/>
              <a:gd name="connsiteX21" fmla="*/ 8363158 w 9144001"/>
              <a:gd name="connsiteY21" fmla="*/ 5483731 h 5745162"/>
              <a:gd name="connsiteX22" fmla="*/ 8363158 w 9144001"/>
              <a:gd name="connsiteY22" fmla="*/ 5464643 h 5745162"/>
              <a:gd name="connsiteX23" fmla="*/ 8406528 w 9144001"/>
              <a:gd name="connsiteY23" fmla="*/ 5464643 h 5745162"/>
              <a:gd name="connsiteX24" fmla="*/ 8406528 w 9144001"/>
              <a:gd name="connsiteY24" fmla="*/ 5441906 h 5745162"/>
              <a:gd name="connsiteX25" fmla="*/ 8245575 w 9144001"/>
              <a:gd name="connsiteY25" fmla="*/ 5441887 h 5745162"/>
              <a:gd name="connsiteX26" fmla="*/ 8262082 w 9144001"/>
              <a:gd name="connsiteY26" fmla="*/ 5476284 h 5745162"/>
              <a:gd name="connsiteX27" fmla="*/ 8288526 w 9144001"/>
              <a:gd name="connsiteY27" fmla="*/ 5476284 h 5745162"/>
              <a:gd name="connsiteX28" fmla="*/ 8273962 w 9144001"/>
              <a:gd name="connsiteY28" fmla="*/ 5441887 h 5745162"/>
              <a:gd name="connsiteX29" fmla="*/ 8520246 w 9144001"/>
              <a:gd name="connsiteY29" fmla="*/ 5441868 h 5745162"/>
              <a:gd name="connsiteX30" fmla="*/ 8520246 w 9144001"/>
              <a:gd name="connsiteY30" fmla="*/ 5548725 h 5745162"/>
              <a:gd name="connsiteX31" fmla="*/ 8545320 w 9144001"/>
              <a:gd name="connsiteY31" fmla="*/ 5548725 h 5745162"/>
              <a:gd name="connsiteX32" fmla="*/ 8545320 w 9144001"/>
              <a:gd name="connsiteY32" fmla="*/ 5517093 h 5745162"/>
              <a:gd name="connsiteX33" fmla="*/ 8554630 w 9144001"/>
              <a:gd name="connsiteY33" fmla="*/ 5517093 h 5745162"/>
              <a:gd name="connsiteX34" fmla="*/ 8598420 w 9144001"/>
              <a:gd name="connsiteY34" fmla="*/ 5479180 h 5745162"/>
              <a:gd name="connsiteX35" fmla="*/ 8550346 w 9144001"/>
              <a:gd name="connsiteY35" fmla="*/ 5441868 h 5745162"/>
              <a:gd name="connsiteX36" fmla="*/ 8415495 w 9144001"/>
              <a:gd name="connsiteY36" fmla="*/ 5441868 h 5745162"/>
              <a:gd name="connsiteX37" fmla="*/ 8415495 w 9144001"/>
              <a:gd name="connsiteY37" fmla="*/ 5548631 h 5745162"/>
              <a:gd name="connsiteX38" fmla="*/ 8448546 w 9144001"/>
              <a:gd name="connsiteY38" fmla="*/ 5548744 h 5745162"/>
              <a:gd name="connsiteX39" fmla="*/ 8513278 w 9144001"/>
              <a:gd name="connsiteY39" fmla="*/ 5494375 h 5745162"/>
              <a:gd name="connsiteX40" fmla="*/ 8447461 w 9144001"/>
              <a:gd name="connsiteY40" fmla="*/ 5441906 h 5745162"/>
              <a:gd name="connsiteX41" fmla="*/ 8447499 w 9144001"/>
              <a:gd name="connsiteY41" fmla="*/ 5441868 h 5745162"/>
              <a:gd name="connsiteX42" fmla="*/ 8415495 w 9144001"/>
              <a:gd name="connsiteY42" fmla="*/ 5441868 h 5745162"/>
              <a:gd name="connsiteX43" fmla="*/ 8323900 w 9144001"/>
              <a:gd name="connsiteY43" fmla="*/ 5441868 h 5745162"/>
              <a:gd name="connsiteX44" fmla="*/ 8298693 w 9144001"/>
              <a:gd name="connsiteY44" fmla="*/ 5499810 h 5745162"/>
              <a:gd name="connsiteX45" fmla="*/ 8291858 w 9144001"/>
              <a:gd name="connsiteY45" fmla="*/ 5483806 h 5745162"/>
              <a:gd name="connsiteX46" fmla="*/ 8265623 w 9144001"/>
              <a:gd name="connsiteY46" fmla="*/ 5483806 h 5745162"/>
              <a:gd name="connsiteX47" fmla="*/ 8296942 w 9144001"/>
              <a:gd name="connsiteY47" fmla="*/ 5549139 h 5745162"/>
              <a:gd name="connsiteX48" fmla="*/ 8299855 w 9144001"/>
              <a:gd name="connsiteY48" fmla="*/ 5549139 h 5745162"/>
              <a:gd name="connsiteX49" fmla="*/ 8350593 w 9144001"/>
              <a:gd name="connsiteY49" fmla="*/ 5441868 h 5745162"/>
              <a:gd name="connsiteX50" fmla="*/ 8704282 w 9144001"/>
              <a:gd name="connsiteY50" fmla="*/ 5403309 h 5745162"/>
              <a:gd name="connsiteX51" fmla="*/ 8704282 w 9144001"/>
              <a:gd name="connsiteY51" fmla="*/ 5577934 h 5745162"/>
              <a:gd name="connsiteX52" fmla="*/ 8723671 w 9144001"/>
              <a:gd name="connsiteY52" fmla="*/ 5577934 h 5745162"/>
              <a:gd name="connsiteX53" fmla="*/ 8723671 w 9144001"/>
              <a:gd name="connsiteY53" fmla="*/ 5403309 h 5745162"/>
              <a:gd name="connsiteX54" fmla="*/ 0 w 9144001"/>
              <a:gd name="connsiteY54" fmla="*/ 0 h 5745162"/>
              <a:gd name="connsiteX55" fmla="*/ 9144001 w 9144001"/>
              <a:gd name="connsiteY55" fmla="*/ 0 h 5745162"/>
              <a:gd name="connsiteX56" fmla="*/ 9144001 w 9144001"/>
              <a:gd name="connsiteY56" fmla="*/ 32567 h 5745162"/>
              <a:gd name="connsiteX57" fmla="*/ 9144001 w 9144001"/>
              <a:gd name="connsiteY57" fmla="*/ 3873048 h 5745162"/>
              <a:gd name="connsiteX58" fmla="*/ 9144001 w 9144001"/>
              <a:gd name="connsiteY58" fmla="*/ 5745162 h 5745162"/>
              <a:gd name="connsiteX59" fmla="*/ 0 w 9144001"/>
              <a:gd name="connsiteY59" fmla="*/ 5745162 h 5745162"/>
              <a:gd name="connsiteX60" fmla="*/ 0 w 9144001"/>
              <a:gd name="connsiteY60" fmla="*/ 3873048 h 5745162"/>
              <a:gd name="connsiteX61" fmla="*/ 0 w 9144001"/>
              <a:gd name="connsiteY61" fmla="*/ 32567 h 5745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9144001" h="5745162">
                <a:moveTo>
                  <a:pt x="8545320" y="5464436"/>
                </a:moveTo>
                <a:lnTo>
                  <a:pt x="8554630" y="5464436"/>
                </a:lnTo>
                <a:cubicBezTo>
                  <a:pt x="8567006" y="5464436"/>
                  <a:pt x="8572756" y="5471131"/>
                  <a:pt x="8572756" y="5479725"/>
                </a:cubicBezTo>
                <a:cubicBezTo>
                  <a:pt x="8572756" y="5490069"/>
                  <a:pt x="8566130" y="5495748"/>
                  <a:pt x="8552840" y="5495748"/>
                </a:cubicBezTo>
                <a:lnTo>
                  <a:pt x="8552840" y="5495635"/>
                </a:lnTo>
                <a:lnTo>
                  <a:pt x="8545320" y="5495635"/>
                </a:lnTo>
                <a:close/>
                <a:moveTo>
                  <a:pt x="8440531" y="5463326"/>
                </a:moveTo>
                <a:lnTo>
                  <a:pt x="8450869" y="5463326"/>
                </a:lnTo>
                <a:cubicBezTo>
                  <a:pt x="8474172" y="5463326"/>
                  <a:pt x="8486566" y="5474986"/>
                  <a:pt x="8486566" y="5494375"/>
                </a:cubicBezTo>
                <a:cubicBezTo>
                  <a:pt x="8486566" y="5514348"/>
                  <a:pt x="8476095" y="5527456"/>
                  <a:pt x="8452487" y="5527456"/>
                </a:cubicBezTo>
                <a:lnTo>
                  <a:pt x="8440531" y="5527456"/>
                </a:lnTo>
                <a:close/>
                <a:moveTo>
                  <a:pt x="8359312" y="5441906"/>
                </a:moveTo>
                <a:lnTo>
                  <a:pt x="8357846" y="5445009"/>
                </a:lnTo>
                <a:lnTo>
                  <a:pt x="8338065" y="5486815"/>
                </a:lnTo>
                <a:lnTo>
                  <a:pt x="8338065" y="5548726"/>
                </a:lnTo>
                <a:lnTo>
                  <a:pt x="8406528" y="5548726"/>
                </a:lnTo>
                <a:lnTo>
                  <a:pt x="8406528" y="5526139"/>
                </a:lnTo>
                <a:lnTo>
                  <a:pt x="8363158" y="5526139"/>
                </a:lnTo>
                <a:lnTo>
                  <a:pt x="8363158" y="5505302"/>
                </a:lnTo>
                <a:lnTo>
                  <a:pt x="8402682" y="5505302"/>
                </a:lnTo>
                <a:lnTo>
                  <a:pt x="8402682" y="5483731"/>
                </a:lnTo>
                <a:lnTo>
                  <a:pt x="8363158" y="5483731"/>
                </a:lnTo>
                <a:lnTo>
                  <a:pt x="8363158" y="5464643"/>
                </a:lnTo>
                <a:lnTo>
                  <a:pt x="8406528" y="5464643"/>
                </a:lnTo>
                <a:lnTo>
                  <a:pt x="8406528" y="5441906"/>
                </a:lnTo>
                <a:close/>
                <a:moveTo>
                  <a:pt x="8245575" y="5441887"/>
                </a:moveTo>
                <a:lnTo>
                  <a:pt x="8262082" y="5476284"/>
                </a:lnTo>
                <a:lnTo>
                  <a:pt x="8288526" y="5476284"/>
                </a:lnTo>
                <a:lnTo>
                  <a:pt x="8273962" y="5441887"/>
                </a:lnTo>
                <a:close/>
                <a:moveTo>
                  <a:pt x="8520246" y="5441868"/>
                </a:moveTo>
                <a:lnTo>
                  <a:pt x="8520246" y="5548725"/>
                </a:lnTo>
                <a:lnTo>
                  <a:pt x="8545320" y="5548725"/>
                </a:lnTo>
                <a:lnTo>
                  <a:pt x="8545320" y="5517093"/>
                </a:lnTo>
                <a:lnTo>
                  <a:pt x="8554630" y="5517093"/>
                </a:lnTo>
                <a:cubicBezTo>
                  <a:pt x="8583189" y="5517093"/>
                  <a:pt x="8598420" y="5501202"/>
                  <a:pt x="8598420" y="5479180"/>
                </a:cubicBezTo>
                <a:cubicBezTo>
                  <a:pt x="8598439" y="5457647"/>
                  <a:pt x="8581628" y="5441868"/>
                  <a:pt x="8550346" y="5441868"/>
                </a:cubicBezTo>
                <a:close/>
                <a:moveTo>
                  <a:pt x="8415495" y="5441868"/>
                </a:moveTo>
                <a:lnTo>
                  <a:pt x="8415495" y="5548631"/>
                </a:lnTo>
                <a:cubicBezTo>
                  <a:pt x="8415495" y="5548631"/>
                  <a:pt x="8435866" y="5548744"/>
                  <a:pt x="8448546" y="5548744"/>
                </a:cubicBezTo>
                <a:cubicBezTo>
                  <a:pt x="8493382" y="5548744"/>
                  <a:pt x="8513278" y="5525857"/>
                  <a:pt x="8513278" y="5494375"/>
                </a:cubicBezTo>
                <a:cubicBezTo>
                  <a:pt x="8513278" y="5464285"/>
                  <a:pt x="8492335" y="5441906"/>
                  <a:pt x="8447461" y="5441906"/>
                </a:cubicBezTo>
                <a:lnTo>
                  <a:pt x="8447499" y="5441868"/>
                </a:lnTo>
                <a:cubicBezTo>
                  <a:pt x="8436742" y="5441868"/>
                  <a:pt x="8415495" y="5441868"/>
                  <a:pt x="8415495" y="5441868"/>
                </a:cubicBezTo>
                <a:close/>
                <a:moveTo>
                  <a:pt x="8323900" y="5441868"/>
                </a:moveTo>
                <a:lnTo>
                  <a:pt x="8298693" y="5499810"/>
                </a:lnTo>
                <a:lnTo>
                  <a:pt x="8291858" y="5483806"/>
                </a:lnTo>
                <a:lnTo>
                  <a:pt x="8265623" y="5483806"/>
                </a:lnTo>
                <a:lnTo>
                  <a:pt x="8296942" y="5549139"/>
                </a:lnTo>
                <a:lnTo>
                  <a:pt x="8299855" y="5549139"/>
                </a:lnTo>
                <a:lnTo>
                  <a:pt x="8350593" y="5441868"/>
                </a:lnTo>
                <a:close/>
                <a:moveTo>
                  <a:pt x="8704282" y="5403309"/>
                </a:moveTo>
                <a:lnTo>
                  <a:pt x="8704282" y="5577934"/>
                </a:lnTo>
                <a:lnTo>
                  <a:pt x="8723671" y="5577934"/>
                </a:lnTo>
                <a:lnTo>
                  <a:pt x="8723671" y="5403309"/>
                </a:lnTo>
                <a:close/>
                <a:moveTo>
                  <a:pt x="0" y="0"/>
                </a:moveTo>
                <a:lnTo>
                  <a:pt x="9144001" y="0"/>
                </a:lnTo>
                <a:lnTo>
                  <a:pt x="9144001" y="32567"/>
                </a:lnTo>
                <a:lnTo>
                  <a:pt x="9144001" y="3873048"/>
                </a:lnTo>
                <a:lnTo>
                  <a:pt x="9144001" y="5745162"/>
                </a:lnTo>
                <a:lnTo>
                  <a:pt x="0" y="5745162"/>
                </a:lnTo>
                <a:lnTo>
                  <a:pt x="0" y="3873048"/>
                </a:lnTo>
                <a:lnTo>
                  <a:pt x="0" y="3256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630CB258-15BC-1643-9DB4-368468698F13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1112838"/>
            <a:ext cx="4572000" cy="5745162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B11128-F69D-DC4E-8CD4-B5A9A92E8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6200775"/>
            <a:ext cx="3700586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7A898C-B866-B14B-9178-5A34D2335457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F97896-B943-434D-88CF-4C1DD9A124EB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FD347B14-43C4-154A-92C4-BB860714839D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4" y="6200775"/>
            <a:ext cx="2742875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48" name="Slide Number Placeholder 3">
            <a:extLst>
              <a:ext uri="{FF2B5EF4-FFF2-40B4-BE49-F238E27FC236}">
                <a16:creationId xmlns:a16="http://schemas.microsoft.com/office/drawing/2014/main" id="{92E106F0-9484-5947-ACF2-FD796A463D32}"/>
              </a:ext>
            </a:extLst>
          </p:cNvPr>
          <p:cNvSpPr>
            <a:spLocks noGrp="1"/>
          </p:cNvSpPr>
          <p:nvPr userDrawn="1">
            <p:ph type="sldNum" sz="quarter" idx="112"/>
          </p:nvPr>
        </p:nvSpPr>
        <p:spPr>
          <a:xfrm>
            <a:off x="8790039" y="6516148"/>
            <a:ext cx="350454" cy="17462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104F9D3-21BC-F941-8399-CF9E0BBD5283}"/>
              </a:ext>
            </a:extLst>
          </p:cNvPr>
          <p:cNvGrpSpPr/>
          <p:nvPr userDrawn="1"/>
        </p:nvGrpSpPr>
        <p:grpSpPr>
          <a:xfrm>
            <a:off x="9399182" y="-2"/>
            <a:ext cx="2961715" cy="11187339"/>
            <a:chOff x="9399182" y="-2"/>
            <a:chExt cx="2961715" cy="1118733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43CC0CC-412F-694E-BA2F-CCF91349B581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1101500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EA9F5F80-B9F9-0F44-B698-DF454AA644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7021" r="58309" b="16813"/>
            <a:stretch/>
          </p:blipFill>
          <p:spPr>
            <a:xfrm>
              <a:off x="9558505" y="1321569"/>
              <a:ext cx="2639327" cy="1095417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BB1AE2B-CA0A-8D42-82DE-43E63DE4AC0D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AB55C23-AD36-AE4E-9421-68AD42E3CAAC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1108CC98-FEA9-DC4C-807D-C762CA96FAA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12194029-9A74-1343-8288-8CF894102496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E41EA862-645E-0F49-9B37-60C68EF7C6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96F6A19-D6A3-6947-9A53-F14EEAE75208}"/>
                </a:ext>
              </a:extLst>
            </p:cNvPr>
            <p:cNvGrpSpPr/>
            <p:nvPr userDrawn="1"/>
          </p:nvGrpSpPr>
          <p:grpSpPr>
            <a:xfrm>
              <a:off x="9521833" y="3751281"/>
              <a:ext cx="2754815" cy="7436056"/>
              <a:chOff x="9521833" y="2531409"/>
              <a:chExt cx="2754815" cy="7436056"/>
            </a:xfrm>
          </p:grpSpPr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A4D10D26-A257-FE41-BFB0-8F5ED90CC342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CCBA4925-27F7-0840-AB2A-43828EF3AD6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2586850C-9180-FA4E-968E-FF19A860A64D}"/>
                  </a:ext>
                </a:extLst>
              </p:cNvPr>
              <p:cNvSpPr txBox="1"/>
              <p:nvPr userDrawn="1"/>
            </p:nvSpPr>
            <p:spPr>
              <a:xfrm>
                <a:off x="9686426" y="5014567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6261B6DE-3D1B-B646-8CA5-3B37F32A674F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35D847C-FBAE-9141-80AA-E929009454B3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73" name="Graphic 72">
                <a:extLst>
                  <a:ext uri="{FF2B5EF4-FFF2-40B4-BE49-F238E27FC236}">
                    <a16:creationId xmlns:a16="http://schemas.microsoft.com/office/drawing/2014/main" id="{7E3A8F17-D7F3-FB43-8FFE-8437E55D771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3F05BF82-935B-0D48-A2E9-BD0093B49F2C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B65235D7-20FA-AA4C-B70A-258CF74C09E1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27581D51-2E99-9242-ABB1-C15D65232A7A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C5CEAEDC-18E3-9E45-9236-4044DE7F605B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8CF43F75-DCAC-3A4B-856C-20394D3967E0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87" name="Graphic 86">
                <a:extLst>
                  <a:ext uri="{FF2B5EF4-FFF2-40B4-BE49-F238E27FC236}">
                    <a16:creationId xmlns:a16="http://schemas.microsoft.com/office/drawing/2014/main" id="{757374C0-8D98-8A47-BE70-BB1D3E4F133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7E869158-45ED-B645-9955-8A67BA7702F6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90" name="Picture 89">
                <a:extLst>
                  <a:ext uri="{FF2B5EF4-FFF2-40B4-BE49-F238E27FC236}">
                    <a16:creationId xmlns:a16="http://schemas.microsoft.com/office/drawing/2014/main" id="{BC30FFF4-CDB9-3B4D-9B7E-D33DD4F2964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248967FA-A69C-BF4E-83CA-ACF61244C96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28A219F0-9820-E94D-9B0B-FC1451A729F1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6B1FFA28-D937-0546-81ED-6A667496097F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68994775-7F6D-024C-A545-1FD8DA0B5066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AC1A251F-EFCC-D040-AD73-5A844F6C8923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0F0507AD-9F18-6D4E-9209-0C54CEF82012}"/>
                  </a:ext>
                </a:extLst>
              </p:cNvPr>
              <p:cNvSpPr txBox="1"/>
              <p:nvPr userDrawn="1"/>
            </p:nvSpPr>
            <p:spPr>
              <a:xfrm>
                <a:off x="9686426" y="6433219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4827295A-AD1C-9B4E-9832-4C95BEE1E2CF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6C8F933F-D9D9-7549-9AF5-2C614E0FD4B9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BFF57C2F-17D2-C542-9688-994363166A69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07" name="Graphic 106">
                <a:extLst>
                  <a:ext uri="{FF2B5EF4-FFF2-40B4-BE49-F238E27FC236}">
                    <a16:creationId xmlns:a16="http://schemas.microsoft.com/office/drawing/2014/main" id="{8F010FD2-F208-734E-83F5-73F06D91019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FE457EE7-A96E-FF4C-93C4-103A4656AC92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78636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F981F28-9C61-BC4E-BB91-07F303CF4C2D}"/>
                </a:ext>
              </a:extLst>
            </p:cNvPr>
            <p:cNvGrpSpPr/>
            <p:nvPr userDrawn="1"/>
          </p:nvGrpSpPr>
          <p:grpSpPr>
            <a:xfrm>
              <a:off x="9540503" y="2468708"/>
              <a:ext cx="2806644" cy="1181890"/>
              <a:chOff x="9554253" y="2414886"/>
              <a:chExt cx="2806644" cy="1181890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DF2DCCF-DC2F-E347-A31C-CDF68A9AF8AC}"/>
                  </a:ext>
                </a:extLst>
              </p:cNvPr>
              <p:cNvGrpSpPr/>
              <p:nvPr userDrawn="1"/>
            </p:nvGrpSpPr>
            <p:grpSpPr>
              <a:xfrm>
                <a:off x="9554253" y="2414886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672EE88A-201E-864B-915E-E26EB55300E2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64" name="Rectangle 63">
                    <a:extLst>
                      <a:ext uri="{FF2B5EF4-FFF2-40B4-BE49-F238E27FC236}">
                        <a16:creationId xmlns:a16="http://schemas.microsoft.com/office/drawing/2014/main" id="{1ACA2DCD-6D06-6E48-ADC7-E4700B8E7ED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5" name="TextBox 64">
                    <a:extLst>
                      <a:ext uri="{FF2B5EF4-FFF2-40B4-BE49-F238E27FC236}">
                        <a16:creationId xmlns:a16="http://schemas.microsoft.com/office/drawing/2014/main" id="{766699C1-6810-F840-B15E-9FDBF86672FE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6" name="TextBox 65">
                    <a:extLst>
                      <a:ext uri="{FF2B5EF4-FFF2-40B4-BE49-F238E27FC236}">
                        <a16:creationId xmlns:a16="http://schemas.microsoft.com/office/drawing/2014/main" id="{46B5DD35-B22A-0445-8540-375CCBA7046C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63" name="Graphic 62">
                  <a:extLst>
                    <a:ext uri="{FF2B5EF4-FFF2-40B4-BE49-F238E27FC236}">
                      <a16:creationId xmlns:a16="http://schemas.microsoft.com/office/drawing/2014/main" id="{9D9E4893-D645-1746-AECB-65B57D82B9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670B2B87-7712-C049-9036-20C3AD85D78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t="5468" r="25071" b="3995"/>
              <a:stretch/>
            </p:blipFill>
            <p:spPr>
              <a:xfrm>
                <a:off x="10779975" y="2820522"/>
                <a:ext cx="1580922" cy="695279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791413312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fault Text Over Photo (Ful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TextBox 142">
            <a:extLst>
              <a:ext uri="{FF2B5EF4-FFF2-40B4-BE49-F238E27FC236}">
                <a16:creationId xmlns:a16="http://schemas.microsoft.com/office/drawing/2014/main" id="{46481346-5599-134A-9D85-7AA21E57226F}"/>
              </a:ext>
            </a:extLst>
          </p:cNvPr>
          <p:cNvSpPr txBox="1">
            <a:spLocks/>
          </p:cNvSpPr>
          <p:nvPr userDrawn="1"/>
        </p:nvSpPr>
        <p:spPr>
          <a:xfrm>
            <a:off x="0" y="6200776"/>
            <a:ext cx="9144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C1CA07-8C63-8647-8A4A-38C9BB1B9E32}"/>
              </a:ext>
            </a:extLst>
          </p:cNvPr>
          <p:cNvGrpSpPr/>
          <p:nvPr userDrawn="1"/>
        </p:nvGrpSpPr>
        <p:grpSpPr>
          <a:xfrm>
            <a:off x="-254939" y="-244225"/>
            <a:ext cx="9657928" cy="7348688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284561" y="6378258"/>
                <a:ext cx="307777" cy="172355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1" cy="235792"/>
              <a:chOff x="431800" y="-240735"/>
              <a:chExt cx="8280401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1007565" y="3672670"/>
                  <a:ext cx="1753786" cy="107722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7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>
                  <a:off x="-130672" y="4603424"/>
                  <a:ext cx="0" cy="1544714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1" cy="154471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094567" y="6868673"/>
              <a:ext cx="2989225" cy="235790"/>
              <a:chOff x="3092534" y="6869197"/>
              <a:chExt cx="2989225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092534" y="6954537"/>
                <a:ext cx="21159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650" kern="120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59538" y="6954537"/>
                <a:ext cx="22762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39705" y="6954537"/>
                <a:ext cx="242054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65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0"/>
            <a:ext cx="4572000" cy="68580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6200775"/>
            <a:ext cx="3700586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3907BEE1-E170-4B45-8716-60BA2FC22521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4" y="6200775"/>
            <a:ext cx="2742875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2368DF05-568B-8542-8C72-DF1F57E7755B}"/>
              </a:ext>
            </a:extLst>
          </p:cNvPr>
          <p:cNvGrpSpPr/>
          <p:nvPr userDrawn="1"/>
        </p:nvGrpSpPr>
        <p:grpSpPr>
          <a:xfrm>
            <a:off x="9399182" y="-2"/>
            <a:ext cx="2961715" cy="11187339"/>
            <a:chOff x="9399182" y="-2"/>
            <a:chExt cx="2961715" cy="11187339"/>
          </a:xfrm>
        </p:grpSpPr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46F9184D-8E86-4D45-B84F-2FFA5448B70D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1101500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C603612C-55C8-C541-8D50-2F8B676C0A9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7021" r="58309" b="16813"/>
            <a:stretch/>
          </p:blipFill>
          <p:spPr>
            <a:xfrm>
              <a:off x="9558505" y="1321569"/>
              <a:ext cx="2639327" cy="1095417"/>
            </a:xfrm>
            <a:prstGeom prst="rect">
              <a:avLst/>
            </a:prstGeom>
          </p:spPr>
        </p:pic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9A91BC00-A745-1C44-8C0F-2E56EB93F065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9382585A-4F78-B447-8773-3700C9C77510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FA314583-5943-5747-A179-6750C843A6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667736F2-0684-7049-915D-E1AE4FEF1C1F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8B02C5E0-ADB8-2F46-8348-B72DA9D08CF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CDE6DBBA-CE9A-2042-B7D5-0165AD2334E5}"/>
                </a:ext>
              </a:extLst>
            </p:cNvPr>
            <p:cNvGrpSpPr/>
            <p:nvPr userDrawn="1"/>
          </p:nvGrpSpPr>
          <p:grpSpPr>
            <a:xfrm>
              <a:off x="9521833" y="3751281"/>
              <a:ext cx="2754815" cy="7436056"/>
              <a:chOff x="9521833" y="2531409"/>
              <a:chExt cx="2754815" cy="7436056"/>
            </a:xfrm>
          </p:grpSpPr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A854AB62-018A-CB4B-8521-979E582C96DE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162" name="Straight Connector 161">
                <a:extLst>
                  <a:ext uri="{FF2B5EF4-FFF2-40B4-BE49-F238E27FC236}">
                    <a16:creationId xmlns:a16="http://schemas.microsoft.com/office/drawing/2014/main" id="{511FF7D6-EE76-9E48-B953-E8C488A6DC3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5EE5D691-B3DD-7940-A2EE-4F1242AE5D3A}"/>
                  </a:ext>
                </a:extLst>
              </p:cNvPr>
              <p:cNvSpPr txBox="1"/>
              <p:nvPr userDrawn="1"/>
            </p:nvSpPr>
            <p:spPr>
              <a:xfrm>
                <a:off x="9686426" y="5014567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DA9D6203-1E48-DF4B-BDC3-B397A843D5F5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C3359E59-5350-D34B-A3EA-40E99A3FD6B7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66" name="Graphic 165">
                <a:extLst>
                  <a:ext uri="{FF2B5EF4-FFF2-40B4-BE49-F238E27FC236}">
                    <a16:creationId xmlns:a16="http://schemas.microsoft.com/office/drawing/2014/main" id="{050619D2-D343-C74D-A7AE-31444836923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67" name="TextBox 166">
                <a:extLst>
                  <a:ext uri="{FF2B5EF4-FFF2-40B4-BE49-F238E27FC236}">
                    <a16:creationId xmlns:a16="http://schemas.microsoft.com/office/drawing/2014/main" id="{00C56975-AB4A-2543-A94B-0493E8E4AF6F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D124988A-7981-B841-BB41-B682BE6C4461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556222D6-2C29-844E-BCEB-F80A3A82B3EB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A64B4767-3CEA-BC46-97EA-2C980219C696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2D773D81-6CE7-9842-A402-24F9E5DA7A41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72" name="Graphic 171">
                <a:extLst>
                  <a:ext uri="{FF2B5EF4-FFF2-40B4-BE49-F238E27FC236}">
                    <a16:creationId xmlns:a16="http://schemas.microsoft.com/office/drawing/2014/main" id="{36B14339-67DD-8D4B-B01C-96674861DC3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73" name="TextBox 172">
                <a:extLst>
                  <a:ext uri="{FF2B5EF4-FFF2-40B4-BE49-F238E27FC236}">
                    <a16:creationId xmlns:a16="http://schemas.microsoft.com/office/drawing/2014/main" id="{780D3816-2F37-C44F-BB3D-AAD1BD77FCFA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74" name="Picture 173">
                <a:extLst>
                  <a:ext uri="{FF2B5EF4-FFF2-40B4-BE49-F238E27FC236}">
                    <a16:creationId xmlns:a16="http://schemas.microsoft.com/office/drawing/2014/main" id="{0A78A0F4-3B2A-0840-B2ED-D10184A35C2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175" name="TextBox 174">
                <a:extLst>
                  <a:ext uri="{FF2B5EF4-FFF2-40B4-BE49-F238E27FC236}">
                    <a16:creationId xmlns:a16="http://schemas.microsoft.com/office/drawing/2014/main" id="{86D47968-FA35-774E-AF51-0C090A1928A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12E64578-3F1D-6649-852E-6A3EAA8D6CBB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77" name="TextBox 176">
                <a:extLst>
                  <a:ext uri="{FF2B5EF4-FFF2-40B4-BE49-F238E27FC236}">
                    <a16:creationId xmlns:a16="http://schemas.microsoft.com/office/drawing/2014/main" id="{030BA93C-7BDC-A64D-B6DC-746732C83C30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  <p:sp>
            <p:nvSpPr>
              <p:cNvPr id="178" name="TextBox 177">
                <a:extLst>
                  <a:ext uri="{FF2B5EF4-FFF2-40B4-BE49-F238E27FC236}">
                    <a16:creationId xmlns:a16="http://schemas.microsoft.com/office/drawing/2014/main" id="{581B96C2-BEBF-A94F-82A9-8A26BA103B53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0EFE05D7-5CE1-7146-8853-1139A08DF9E6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E8BD0C13-8FBE-394A-910E-10615590B6A1}"/>
                  </a:ext>
                </a:extLst>
              </p:cNvPr>
              <p:cNvSpPr txBox="1"/>
              <p:nvPr userDrawn="1"/>
            </p:nvSpPr>
            <p:spPr>
              <a:xfrm>
                <a:off x="9686426" y="6433219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7FB5246-47EA-FD4F-8D6E-196E7AD7FA38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  <p:sp>
            <p:nvSpPr>
              <p:cNvPr id="182" name="Rectangle 181">
                <a:extLst>
                  <a:ext uri="{FF2B5EF4-FFF2-40B4-BE49-F238E27FC236}">
                    <a16:creationId xmlns:a16="http://schemas.microsoft.com/office/drawing/2014/main" id="{B89C480E-A71A-D44E-B608-4344003C99CB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DD62B91F-6210-1449-A8C8-796BD40FAB50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84" name="Graphic 183">
                <a:extLst>
                  <a:ext uri="{FF2B5EF4-FFF2-40B4-BE49-F238E27FC236}">
                    <a16:creationId xmlns:a16="http://schemas.microsoft.com/office/drawing/2014/main" id="{BC18E47A-0D07-5E4B-92C8-9B3BB2EA831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85" name="TextBox 184">
                <a:extLst>
                  <a:ext uri="{FF2B5EF4-FFF2-40B4-BE49-F238E27FC236}">
                    <a16:creationId xmlns:a16="http://schemas.microsoft.com/office/drawing/2014/main" id="{A34A608C-8516-8545-9041-572194C4BC91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78636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D31E61DD-2C09-1F45-A7EF-4AD5FA85F952}"/>
                </a:ext>
              </a:extLst>
            </p:cNvPr>
            <p:cNvGrpSpPr/>
            <p:nvPr userDrawn="1"/>
          </p:nvGrpSpPr>
          <p:grpSpPr>
            <a:xfrm>
              <a:off x="9540503" y="2468708"/>
              <a:ext cx="2806644" cy="1181890"/>
              <a:chOff x="9554253" y="2414886"/>
              <a:chExt cx="2806644" cy="1181890"/>
            </a:xfrm>
          </p:grpSpPr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AE515DAB-7829-4E46-8033-92951355A1AC}"/>
                  </a:ext>
                </a:extLst>
              </p:cNvPr>
              <p:cNvGrpSpPr/>
              <p:nvPr userDrawn="1"/>
            </p:nvGrpSpPr>
            <p:grpSpPr>
              <a:xfrm>
                <a:off x="9554253" y="2414886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156" name="Group 155">
                  <a:extLst>
                    <a:ext uri="{FF2B5EF4-FFF2-40B4-BE49-F238E27FC236}">
                      <a16:creationId xmlns:a16="http://schemas.microsoft.com/office/drawing/2014/main" id="{5785614C-7308-5841-9902-E01FC7DF0F79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158" name="Rectangle 157">
                    <a:extLst>
                      <a:ext uri="{FF2B5EF4-FFF2-40B4-BE49-F238E27FC236}">
                        <a16:creationId xmlns:a16="http://schemas.microsoft.com/office/drawing/2014/main" id="{59501F35-B809-2B4D-94F5-1FBC3C009A8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59" name="TextBox 158">
                    <a:extLst>
                      <a:ext uri="{FF2B5EF4-FFF2-40B4-BE49-F238E27FC236}">
                        <a16:creationId xmlns:a16="http://schemas.microsoft.com/office/drawing/2014/main" id="{9CDE9FBA-1F86-8948-A493-6011E0A7AAC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160" name="TextBox 159">
                    <a:extLst>
                      <a:ext uri="{FF2B5EF4-FFF2-40B4-BE49-F238E27FC236}">
                        <a16:creationId xmlns:a16="http://schemas.microsoft.com/office/drawing/2014/main" id="{45394A56-E008-A14E-AECC-1347077C6587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157" name="Graphic 156">
                  <a:extLst>
                    <a:ext uri="{FF2B5EF4-FFF2-40B4-BE49-F238E27FC236}">
                      <a16:creationId xmlns:a16="http://schemas.microsoft.com/office/drawing/2014/main" id="{33074372-DE62-C049-AC9B-F5C2A426647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155" name="Picture 154">
                <a:extLst>
                  <a:ext uri="{FF2B5EF4-FFF2-40B4-BE49-F238E27FC236}">
                    <a16:creationId xmlns:a16="http://schemas.microsoft.com/office/drawing/2014/main" id="{538972A4-60AB-0A4B-AD4C-080FA4770747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t="5468" r="25071" b="3995"/>
              <a:stretch/>
            </p:blipFill>
            <p:spPr>
              <a:xfrm>
                <a:off x="10779975" y="2820522"/>
                <a:ext cx="1580922" cy="695279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765666809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hoto,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602C580C-279C-C14B-A35B-19A3198CE523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2EA00E4-A5CA-8A45-BBC6-14C9E32393F9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9144001" cy="5696907"/>
          </a:xfrm>
          <a:prstGeom prst="rect">
            <a:avLst/>
          </a:pr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6B2C3DE-0130-DA4D-94C6-482024DAA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6420387" cy="5696907"/>
          </a:xfrm>
          <a:custGeom>
            <a:avLst/>
            <a:gdLst>
              <a:gd name="connsiteX0" fmla="*/ 0 w 6420387"/>
              <a:gd name="connsiteY0" fmla="*/ 0 h 5696907"/>
              <a:gd name="connsiteX1" fmla="*/ 3716919 w 6420387"/>
              <a:gd name="connsiteY1" fmla="*/ 0 h 5696907"/>
              <a:gd name="connsiteX2" fmla="*/ 6420387 w 6420387"/>
              <a:gd name="connsiteY2" fmla="*/ 5696907 h 5696907"/>
              <a:gd name="connsiteX3" fmla="*/ 0 w 6420387"/>
              <a:gd name="connsiteY3" fmla="*/ 5696907 h 5696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0387" h="5696907">
                <a:moveTo>
                  <a:pt x="0" y="0"/>
                </a:moveTo>
                <a:lnTo>
                  <a:pt x="3716919" y="0"/>
                </a:lnTo>
                <a:lnTo>
                  <a:pt x="6420387" y="5696907"/>
                </a:lnTo>
                <a:lnTo>
                  <a:pt x="0" y="5696907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wrap="square" lIns="432000" rIns="1080000" bIns="360000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presentation title. 3 lines max.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4D5E1C61-E66D-DA4C-9929-23CE218C84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724098" y="5966248"/>
            <a:ext cx="2151407" cy="55520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13DE8F3-DCBA-CF49-9CE3-647F1ABDA6CA}"/>
              </a:ext>
            </a:extLst>
          </p:cNvPr>
          <p:cNvGrpSpPr/>
          <p:nvPr userDrawn="1"/>
        </p:nvGrpSpPr>
        <p:grpSpPr>
          <a:xfrm>
            <a:off x="-256964" y="3892184"/>
            <a:ext cx="251461" cy="1365066"/>
            <a:chOff x="-256404" y="360363"/>
            <a:chExt cx="251461" cy="6921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E480DA6A-4D10-DB40-988E-A23352CE5AF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8CB891B5-549F-C54D-AFAE-99990FB2A5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2A995ADB-9A20-754F-8EF1-BB333625BB8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845A68E1-8CD9-CC45-9F15-8553569D6C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60D8EAA-9FE3-0A4D-8451-31561B9FA39F}"/>
                </a:ext>
              </a:extLst>
            </p:cNvPr>
            <p:cNvSpPr txBox="1"/>
            <p:nvPr userDrawn="1"/>
          </p:nvSpPr>
          <p:spPr>
            <a:xfrm rot="16200000">
              <a:off x="-252501" y="649201"/>
              <a:ext cx="243656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7635911-5D33-9B43-907D-630F0751D4B5}"/>
              </a:ext>
            </a:extLst>
          </p:cNvPr>
          <p:cNvGrpSpPr/>
          <p:nvPr userDrawn="1"/>
        </p:nvGrpSpPr>
        <p:grpSpPr>
          <a:xfrm>
            <a:off x="-256964" y="6029561"/>
            <a:ext cx="251461" cy="414972"/>
            <a:chOff x="-256404" y="360363"/>
            <a:chExt cx="251461" cy="692152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E3D47EC-0298-BD47-8F31-1F67C4A52643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9AE98708-0591-FB43-80ED-2B85F5BFEFB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87BC5222-1B48-BD4C-9D7E-445D668585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9CB1FAA-BD66-DC46-8E02-D10B7ACACCB5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AD09676-9C69-E246-AFD8-70702BD7551D}"/>
                </a:ext>
              </a:extLst>
            </p:cNvPr>
            <p:cNvSpPr txBox="1"/>
            <p:nvPr userDrawn="1"/>
          </p:nvSpPr>
          <p:spPr>
            <a:xfrm rot="16200000">
              <a:off x="-328529" y="649200"/>
              <a:ext cx="395711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BC3EAE13-E77A-9844-A7FB-5481C2918243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6673517" y="5356375"/>
            <a:ext cx="2254584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99D40C9-73B1-3744-8E82-87C3C3CE08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1" y="6061208"/>
            <a:ext cx="3313429" cy="364145"/>
          </a:xfrm>
        </p:spPr>
        <p:txBody>
          <a:bodyPr anchor="ctr"/>
          <a:lstStyle>
            <a:lvl1pPr marL="9525" indent="0">
              <a:buFontTx/>
              <a:buNone/>
              <a:tabLst/>
              <a:defRPr sz="1400" b="0">
                <a:solidFill>
                  <a:schemeClr val="bg1"/>
                </a:solidFill>
              </a:defRPr>
            </a:lvl1pPr>
            <a:lvl2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  <a:lvl6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6pPr>
            <a:lvl7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7pPr>
            <a:lvl8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8pPr>
            <a:lvl9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 (Month DD, YYYY)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4EFD901-2927-D64B-B02E-E280897FCC24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9CE60D13-ED71-8949-8EA6-7BDFD45DD243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807CCC75-FA7C-F44D-B14A-A0B0259C746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E3A25C0D-A76D-3A43-AF72-4A74E55935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686053CC-770F-1647-9FA5-3D17B470A2DD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03FE5F9E-B699-5748-8B29-271744DB62D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64" name="Straight Connector 63">
                  <a:extLst>
                    <a:ext uri="{FF2B5EF4-FFF2-40B4-BE49-F238E27FC236}">
                      <a16:creationId xmlns:a16="http://schemas.microsoft.com/office/drawing/2014/main" id="{611376C0-9CDD-1149-B743-827805A87A1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843B879B-BC55-DF46-B034-9796400B97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AB5FEA6B-D3F8-E14C-9F53-1604DEE35B15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CD598A-01CD-CC40-AB4E-7590F906EFD9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2" name="Straight Arrow Connector 61">
                <a:extLst>
                  <a:ext uri="{FF2B5EF4-FFF2-40B4-BE49-F238E27FC236}">
                    <a16:creationId xmlns:a16="http://schemas.microsoft.com/office/drawing/2014/main" id="{8FEDFFF3-ACA6-CE4F-91FD-7391CF42615D}"/>
                  </a:ext>
                </a:extLst>
              </p:cNvPr>
              <p:cNvCxnSpPr>
                <a:cxnSpLocks/>
                <a:stCxn id="61" idx="1"/>
                <a:endCxn id="66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Arrow Connector 62">
                <a:extLst>
                  <a:ext uri="{FF2B5EF4-FFF2-40B4-BE49-F238E27FC236}">
                    <a16:creationId xmlns:a16="http://schemas.microsoft.com/office/drawing/2014/main" id="{B01E1954-959E-D241-8D61-EF967C7B3DFC}"/>
                  </a:ext>
                </a:extLst>
              </p:cNvPr>
              <p:cNvCxnSpPr>
                <a:cxnSpLocks/>
                <a:stCxn id="61" idx="3"/>
                <a:endCxn id="66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8425585-D754-CE4E-97CB-A25075FFC6D6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0E70D113-073F-DB49-940F-651EC80F7EE0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D345CBC3-2793-C84A-82D2-46F80E2C806B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D74F7BC9-E8D1-FB43-AAD5-7867AD59901D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3CEF2B5E-1374-EF49-9AB7-6A828DF5247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0E9D0BE4-89D0-5942-8754-EEA5A310316D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FE3E923D-B719-754B-A5B4-5114C78C2350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90" name="Rectangle 89">
                  <a:extLst>
                    <a:ext uri="{FF2B5EF4-FFF2-40B4-BE49-F238E27FC236}">
                      <a16:creationId xmlns:a16="http://schemas.microsoft.com/office/drawing/2014/main" id="{CD8D379F-A1CA-974F-B228-40BD78178C0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2BBC6346-A8B2-CC40-83D2-80545950D96E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92" name="Graphic 91">
                  <a:extLst>
                    <a:ext uri="{FF2B5EF4-FFF2-40B4-BE49-F238E27FC236}">
                      <a16:creationId xmlns:a16="http://schemas.microsoft.com/office/drawing/2014/main" id="{8E12A5EB-AE8E-1443-9417-C419BFE8B93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97F1FA10-D20C-B240-9CD2-6D4497C5F4D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CE14D817-0EDB-0E46-9F58-EB168B99D57D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9CED4535-1101-5649-A060-98F11DEC439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C4AD87CC-6788-734A-81B5-D0B8B608B17C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7F3E0A81-64FA-7644-A110-F47798791436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A78C2125-4688-2A4F-9C89-3FCE7E50054E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87" name="Graphic 86">
                  <a:extLst>
                    <a:ext uri="{FF2B5EF4-FFF2-40B4-BE49-F238E27FC236}">
                      <a16:creationId xmlns:a16="http://schemas.microsoft.com/office/drawing/2014/main" id="{C3F1FB1C-139F-6E4F-9C91-157785071F9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448D0656-6841-F546-BD98-F7719F78A37C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89" name="Picture 88">
                  <a:extLst>
                    <a:ext uri="{FF2B5EF4-FFF2-40B4-BE49-F238E27FC236}">
                      <a16:creationId xmlns:a16="http://schemas.microsoft.com/office/drawing/2014/main" id="{4DFEF06C-7D00-CD4A-A399-511628526B5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41CAF2BE-74BA-C947-9D29-4E9691DA5EFA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35D0CA59-DF2A-494B-8A71-0D6FCABF5AD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BB3F398C-FD2A-BF4B-BCCB-CD30B027899F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14D5BEDC-FECA-904D-BAE1-FC9ECFA0C89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5FCF3778-A3F9-9342-8366-639247FDB55A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94601BB6-23CE-644F-87DC-9F5BA78E0D1C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170D7B81-2F68-6943-9D89-8B56A46933CB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C3A87CF9-B094-8E4A-8696-7D22C994B85B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3518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Text Over Photo (Ful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041452B9-404B-4B43-893C-BB42AF2A9105}"/>
              </a:ext>
            </a:extLst>
          </p:cNvPr>
          <p:cNvSpPr txBox="1">
            <a:spLocks/>
          </p:cNvSpPr>
          <p:nvPr userDrawn="1"/>
        </p:nvSpPr>
        <p:spPr>
          <a:xfrm>
            <a:off x="0" y="6200776"/>
            <a:ext cx="9144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6ACA9DB-4044-6F42-96B1-45EBCD182B84}"/>
              </a:ext>
            </a:extLst>
          </p:cNvPr>
          <p:cNvGrpSpPr/>
          <p:nvPr userDrawn="1"/>
        </p:nvGrpSpPr>
        <p:grpSpPr>
          <a:xfrm>
            <a:off x="-254939" y="-244225"/>
            <a:ext cx="9657928" cy="7348688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284561" y="6378258"/>
                <a:ext cx="307777" cy="172355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1" cy="235792"/>
              <a:chOff x="431800" y="-240735"/>
              <a:chExt cx="8280401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1007565" y="3672670"/>
                  <a:ext cx="1753786" cy="107722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7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>
                  <a:off x="-130672" y="4603424"/>
                  <a:ext cx="0" cy="1544714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1" cy="154471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094567" y="6868673"/>
              <a:ext cx="2989225" cy="235790"/>
              <a:chOff x="3092534" y="6869197"/>
              <a:chExt cx="2989225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092534" y="6954537"/>
                <a:ext cx="21159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650" kern="120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59538" y="6954537"/>
                <a:ext cx="22762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39705" y="6954537"/>
                <a:ext cx="242054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65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0"/>
            <a:ext cx="4572000" cy="68580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6200775"/>
            <a:ext cx="3700586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84FC32F-D780-2C41-B31E-1F1C7720CD48}"/>
              </a:ext>
            </a:extLst>
          </p:cNvPr>
          <p:cNvGrpSpPr/>
          <p:nvPr userDrawn="1"/>
        </p:nvGrpSpPr>
        <p:grpSpPr>
          <a:xfrm>
            <a:off x="9399182" y="-1"/>
            <a:ext cx="2961715" cy="9658589"/>
            <a:chOff x="9399182" y="-1"/>
            <a:chExt cx="2961715" cy="9658589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1F6701BF-092D-2F4F-9D3D-CB526578FD23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4869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63" name="Picture 162">
              <a:extLst>
                <a:ext uri="{FF2B5EF4-FFF2-40B4-BE49-F238E27FC236}">
                  <a16:creationId xmlns:a16="http://schemas.microsoft.com/office/drawing/2014/main" id="{2D12CE45-289D-6B47-8827-232211E4A4E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1482" r="50733" b="17784"/>
            <a:stretch/>
          </p:blipFill>
          <p:spPr>
            <a:xfrm>
              <a:off x="9558506" y="1332920"/>
              <a:ext cx="2639326" cy="746975"/>
            </a:xfrm>
            <a:prstGeom prst="rect">
              <a:avLst/>
            </a:prstGeom>
          </p:spPr>
        </p:pic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06DB9A1-FD76-8C4E-AA60-A3215A54B22B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9B6A22A1-5D5B-4A45-9873-94CDE4AF538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ABB8F1D-E85A-ED44-9693-9F13743BAED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56" name="Picture 155">
                <a:extLst>
                  <a:ext uri="{FF2B5EF4-FFF2-40B4-BE49-F238E27FC236}">
                    <a16:creationId xmlns:a16="http://schemas.microsoft.com/office/drawing/2014/main" id="{20DBD003-BD74-534F-B6C9-503C1716230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0987C7D-6B58-624B-A8C2-E1C8B5B41655}"/>
                </a:ext>
              </a:extLst>
            </p:cNvPr>
            <p:cNvSpPr txBox="1"/>
            <p:nvPr userDrawn="1"/>
          </p:nvSpPr>
          <p:spPr>
            <a:xfrm>
              <a:off x="9558507" y="3644763"/>
              <a:ext cx="164468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76A5E172-F2DB-AB47-BF8B-E04905D4DF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847380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3686235-423F-604C-911D-620F011D49F8}"/>
                </a:ext>
              </a:extLst>
            </p:cNvPr>
            <p:cNvSpPr txBox="1"/>
            <p:nvPr userDrawn="1"/>
          </p:nvSpPr>
          <p:spPr>
            <a:xfrm>
              <a:off x="9686426" y="4705690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 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74431D0C-E5D7-5C4B-B34D-ED622DCEC90B}"/>
                </a:ext>
              </a:extLst>
            </p:cNvPr>
            <p:cNvGrpSpPr/>
            <p:nvPr userDrawn="1"/>
          </p:nvGrpSpPr>
          <p:grpSpPr>
            <a:xfrm>
              <a:off x="9541497" y="8247273"/>
              <a:ext cx="2735151" cy="1411315"/>
              <a:chOff x="9296567" y="4910411"/>
              <a:chExt cx="2735151" cy="1411315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3EE33C6F-C414-704B-930C-49B6415FB0D1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C7770F39-017B-9A4E-B2C7-C48397F86E0F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2B06D124-E28F-144C-A1A8-A9F9DCEDD39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217354F4-3327-F641-8A6E-7CF3A11F0418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13353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C21E8267-10D6-A74C-9247-CF15A2756B51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33236540-7695-CC4F-8B5C-2A70FAD9ED38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CC75D71-084C-2841-A6C3-E4B52088D324}"/>
                </a:ext>
              </a:extLst>
            </p:cNvPr>
            <p:cNvGrpSpPr/>
            <p:nvPr userDrawn="1"/>
          </p:nvGrpSpPr>
          <p:grpSpPr>
            <a:xfrm>
              <a:off x="9541497" y="6890617"/>
              <a:ext cx="2735151" cy="1280928"/>
              <a:chOff x="9286315" y="6976989"/>
              <a:chExt cx="2735151" cy="1280928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80A4814C-F3C9-8E4D-A7A3-91D0BBB9B2DE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9E22E78A-6530-6E49-B5B6-FE675F4954F7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45" name="Graphic 144">
                <a:extLst>
                  <a:ext uri="{FF2B5EF4-FFF2-40B4-BE49-F238E27FC236}">
                    <a16:creationId xmlns:a16="http://schemas.microsoft.com/office/drawing/2014/main" id="{DABEDA03-6252-DA49-BF04-D4C0068F703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8636DC60-0BA4-B64F-91F4-B8555CA43CB7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47" name="Picture 146">
                <a:extLst>
                  <a:ext uri="{FF2B5EF4-FFF2-40B4-BE49-F238E27FC236}">
                    <a16:creationId xmlns:a16="http://schemas.microsoft.com/office/drawing/2014/main" id="{9C06CF34-F5E9-FF43-92FC-A8A12A5E751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38052344-BDD9-5C4C-BCF9-CDD928F9ABEF}"/>
                </a:ext>
              </a:extLst>
            </p:cNvPr>
            <p:cNvGrpSpPr/>
            <p:nvPr userDrawn="1"/>
          </p:nvGrpSpPr>
          <p:grpSpPr>
            <a:xfrm>
              <a:off x="9521833" y="3969883"/>
              <a:ext cx="2617883" cy="651460"/>
              <a:chOff x="12352022" y="513115"/>
              <a:chExt cx="2617883" cy="651460"/>
            </a:xfrm>
          </p:grpSpPr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EA326582-6206-9448-AC3D-D3956871747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4064E1A2-6908-7D4E-AED8-AABD4AFAA4D9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26F5F72F-54E6-6444-AD2C-1C7049E062D7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</p:grp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ADF7B1D-21B9-4A43-9883-156AF8A7FE24}"/>
                </a:ext>
              </a:extLst>
            </p:cNvPr>
            <p:cNvSpPr txBox="1"/>
            <p:nvPr userDrawn="1"/>
          </p:nvSpPr>
          <p:spPr>
            <a:xfrm>
              <a:off x="9674267" y="4988995"/>
              <a:ext cx="2374733" cy="2908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D008BFE-F284-7448-B84A-6DC42232D3A9}"/>
                </a:ext>
              </a:extLst>
            </p:cNvPr>
            <p:cNvSpPr txBox="1"/>
            <p:nvPr userDrawn="1"/>
          </p:nvSpPr>
          <p:spPr>
            <a:xfrm>
              <a:off x="9686426" y="5404252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 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3BA44DCB-A3AF-9546-85AA-0C8080A538B5}"/>
                </a:ext>
              </a:extLst>
            </p:cNvPr>
            <p:cNvSpPr txBox="1"/>
            <p:nvPr userDrawn="1"/>
          </p:nvSpPr>
          <p:spPr>
            <a:xfrm>
              <a:off x="9686426" y="6124342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 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495F74B5-1BAA-CF4B-B826-677D9A1B2C48}"/>
                </a:ext>
              </a:extLst>
            </p:cNvPr>
            <p:cNvSpPr txBox="1"/>
            <p:nvPr userDrawn="1"/>
          </p:nvSpPr>
          <p:spPr>
            <a:xfrm>
              <a:off x="9674267" y="6554905"/>
              <a:ext cx="2374733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3F7CB717-E705-2840-9197-C78C7B64E71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C57B530B-447D-4A4B-9F77-9EBFE32887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62FAFE70-D4B2-8F4F-9523-F66BEB76844C}"/>
                </a:ext>
              </a:extLst>
            </p:cNvPr>
            <p:cNvGrpSpPr/>
            <p:nvPr userDrawn="1"/>
          </p:nvGrpSpPr>
          <p:grpSpPr>
            <a:xfrm>
              <a:off x="9541497" y="2222532"/>
              <a:ext cx="2735151" cy="1326215"/>
              <a:chOff x="9286315" y="6976988"/>
              <a:chExt cx="2735151" cy="1326215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E47B8ADC-2456-1243-95C8-E860AAB723D4}"/>
                  </a:ext>
                </a:extLst>
              </p:cNvPr>
              <p:cNvSpPr/>
              <p:nvPr userDrawn="1"/>
            </p:nvSpPr>
            <p:spPr>
              <a:xfrm>
                <a:off x="9286315" y="6976988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EDAA5B06-10D3-584A-BD73-861E5B9ACB56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31" name="Graphic 130">
                <a:extLst>
                  <a:ext uri="{FF2B5EF4-FFF2-40B4-BE49-F238E27FC236}">
                    <a16:creationId xmlns:a16="http://schemas.microsoft.com/office/drawing/2014/main" id="{161E4833-BB86-994F-833D-93E67F55990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DAA1AE3-7284-B649-9EEF-97FFE151F8C8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214055" cy="78636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659A1A30-0D40-E04A-93E5-5EBF0216ED61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4" y="6200775"/>
            <a:ext cx="2742875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</p:spTree>
    <p:extLst>
      <p:ext uri="{BB962C8B-B14F-4D97-AF65-F5344CB8AC3E}">
        <p14:creationId xmlns:p14="http://schemas.microsoft.com/office/powerpoint/2010/main" val="1587903709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Stat Over Photo (Ful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23B4BB76-40B0-E54D-B448-1587B8F2254F}"/>
              </a:ext>
            </a:extLst>
          </p:cNvPr>
          <p:cNvSpPr txBox="1">
            <a:spLocks/>
          </p:cNvSpPr>
          <p:nvPr userDrawn="1"/>
        </p:nvSpPr>
        <p:spPr>
          <a:xfrm>
            <a:off x="0" y="6200776"/>
            <a:ext cx="9144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9B1C78-E256-DF49-A6F9-68ADE4F58193}"/>
              </a:ext>
            </a:extLst>
          </p:cNvPr>
          <p:cNvGrpSpPr/>
          <p:nvPr userDrawn="1"/>
        </p:nvGrpSpPr>
        <p:grpSpPr>
          <a:xfrm>
            <a:off x="-254939" y="-244225"/>
            <a:ext cx="9657928" cy="7348688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284561" y="6378258"/>
                <a:ext cx="307777" cy="172355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FOOT </a:t>
                </a:r>
                <a:b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NOTES 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1" cy="235792"/>
              <a:chOff x="431800" y="-240735"/>
              <a:chExt cx="8280401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KEEP CONTENT WITHIN THIS AREA 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1007565" y="3672670"/>
                  <a:ext cx="1753786" cy="107722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7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 KEEP CONTENT WITHIN THIS AREA 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>
                  <a:off x="-130672" y="4603424"/>
                  <a:ext cx="0" cy="1544714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1" cy="154471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094567" y="6868673"/>
              <a:ext cx="2989225" cy="235790"/>
              <a:chOff x="3092534" y="6869197"/>
              <a:chExt cx="2989225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092534" y="6954537"/>
                <a:ext cx="21159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1/3 </a:t>
                </a:r>
                <a:r>
                  <a:rPr lang="en-US" sz="650" kern="120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RD 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59538" y="6954537"/>
                <a:ext cx="22762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HALF 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39705" y="6954537"/>
                <a:ext cx="242054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2/3 </a:t>
                </a:r>
                <a:r>
                  <a:rPr lang="en-US" sz="65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RDS 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Drag image onto slide to add photo 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0"/>
            <a:ext cx="3186557" cy="68580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 sz="44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6200775"/>
            <a:ext cx="2311400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 Click to add source and footnotes. (Level 1 formatting for source, and levels 2+ for footnote numbering.) If over 4 lines, move footnote text to “Footnotes Appendix” slide and write “See Appendix for footnotes #-#” with level 1 formatting. </a:t>
            </a:r>
          </a:p>
          <a:p>
            <a:pPr lvl="1"/>
            <a:r>
              <a:rPr lang="en-US" dirty="0"/>
              <a:t> Footnotes – Levels 2-9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7197522-BF99-8445-8C68-D6578288AD2D}"/>
              </a:ext>
            </a:extLst>
          </p:cNvPr>
          <p:cNvGrpSpPr/>
          <p:nvPr userDrawn="1"/>
        </p:nvGrpSpPr>
        <p:grpSpPr>
          <a:xfrm>
            <a:off x="9399182" y="-2"/>
            <a:ext cx="2961715" cy="9689553"/>
            <a:chOff x="9399182" y="-2"/>
            <a:chExt cx="2961715" cy="9689553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058DECCA-09EF-5C43-8453-6890A89614B0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51547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512A7C54-DE21-4344-96B4-6CF162E7EF9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8182" r="54279" b="28233"/>
            <a:stretch/>
          </p:blipFill>
          <p:spPr>
            <a:xfrm>
              <a:off x="9558506" y="1325046"/>
              <a:ext cx="2639326" cy="784740"/>
            </a:xfrm>
            <a:prstGeom prst="rect">
              <a:avLst/>
            </a:prstGeom>
          </p:spPr>
        </p:pic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21F4F9E6-E172-8440-B1C2-D5D4BD628238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9C96D69A-1828-5C46-BC13-9C94FCBFE241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 Access programmed text formats by using the ‘Indent More’ button to change the indent level. </a:t>
              </a:r>
            </a:p>
          </p:txBody>
        </p:sp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8103D77D-8415-7749-BCBB-4905B395A7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A1DB698E-0CEF-AD45-8121-4CD4E026F6C2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 TEXT FORMATS IN THIS LAYOUT 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E884F550-2205-3843-81FA-454481A85FD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2E1247F-233F-F94C-98B1-C8EC05E1729D}"/>
                </a:ext>
              </a:extLst>
            </p:cNvPr>
            <p:cNvGrpSpPr/>
            <p:nvPr userDrawn="1"/>
          </p:nvGrpSpPr>
          <p:grpSpPr>
            <a:xfrm>
              <a:off x="9521833" y="2253495"/>
              <a:ext cx="2754815" cy="7436056"/>
              <a:chOff x="9521833" y="2531409"/>
              <a:chExt cx="2754815" cy="7436056"/>
            </a:xfrm>
          </p:grpSpPr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E8B2BC36-E252-F449-91B0-E44A4C6E88AC}"/>
                  </a:ext>
                </a:extLst>
              </p:cNvPr>
              <p:cNvSpPr txBox="1"/>
              <p:nvPr userDrawn="1"/>
            </p:nvSpPr>
            <p:spPr>
              <a:xfrm>
                <a:off x="9558507" y="3953640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 HOW TO ADD AN IMAGE </a:t>
                </a:r>
              </a:p>
            </p:txBody>
          </p: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828801CA-93C8-9E4C-AB3C-451F07B6D7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415625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75B9A3BF-AC32-DA42-A161-4BB2E2281D4D}"/>
                  </a:ext>
                </a:extLst>
              </p:cNvPr>
              <p:cNvSpPr txBox="1"/>
              <p:nvPr userDrawn="1"/>
            </p:nvSpPr>
            <p:spPr>
              <a:xfrm>
                <a:off x="9686426" y="5014567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 Method 1: </a:t>
                </a:r>
                <a:r>
                  <a:rPr lang="en-US" sz="600" b="0" dirty="0"/>
                  <a:t> from file browser </a:t>
                </a:r>
              </a:p>
              <a:p>
                <a:pPr lvl="1">
                  <a:buNone/>
                </a:pPr>
                <a:r>
                  <a:rPr lang="en-US" sz="1050" dirty="0"/>
                  <a:t> Drag the image onto the slide. </a:t>
                </a:r>
              </a:p>
            </p:txBody>
          </p:sp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924F2A4D-5E0A-1240-8BED-C913FAAFD6F2}"/>
                  </a:ext>
                </a:extLst>
              </p:cNvPr>
              <p:cNvSpPr/>
              <p:nvPr userDrawn="1"/>
            </p:nvSpPr>
            <p:spPr>
              <a:xfrm>
                <a:off x="9541497" y="8556150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8A3C99CB-E95A-B74E-BE7F-0792FAF9671D}"/>
                  </a:ext>
                </a:extLst>
              </p:cNvPr>
              <p:cNvSpPr txBox="1"/>
              <p:nvPr userDrawn="1"/>
            </p:nvSpPr>
            <p:spPr>
              <a:xfrm>
                <a:off x="9907688" y="8684950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Change Image </a:t>
                </a:r>
              </a:p>
            </p:txBody>
          </p:sp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9D2838B6-04DF-EB45-9DD9-3C36BB13157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8695233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C2A77126-7E90-1843-AE86-D347F2D075EE}"/>
                  </a:ext>
                </a:extLst>
              </p:cNvPr>
              <p:cNvSpPr txBox="1"/>
              <p:nvPr userDrawn="1"/>
            </p:nvSpPr>
            <p:spPr>
              <a:xfrm>
                <a:off x="9716735" y="9264933"/>
                <a:ext cx="2413353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Deleting the image may bring the image placeholder to the top layer. Right-click on the placeholder and choose “Send to Back”. 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0FAD37BE-7E80-0046-A61C-0B15F860162C}"/>
                  </a:ext>
                </a:extLst>
              </p:cNvPr>
              <p:cNvSpPr txBox="1"/>
              <p:nvPr userDrawn="1"/>
            </p:nvSpPr>
            <p:spPr>
              <a:xfrm>
                <a:off x="9716735" y="8946089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First, delete the existing image to reset the photo placeholder functionality. 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5B98A223-2512-6C4D-87C9-B2267FF7CCD9}"/>
                  </a:ext>
                </a:extLst>
              </p:cNvPr>
              <p:cNvSpPr txBox="1"/>
              <p:nvPr userDrawn="1"/>
            </p:nvSpPr>
            <p:spPr>
              <a:xfrm>
                <a:off x="9716735" y="9714610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 You can now add a new image as normal. </a:t>
                </a:r>
              </a:p>
            </p:txBody>
          </p:sp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330B2B4B-905D-9A46-A3F8-DF5095A8A808}"/>
                  </a:ext>
                </a:extLst>
              </p:cNvPr>
              <p:cNvSpPr/>
              <p:nvPr userDrawn="1"/>
            </p:nvSpPr>
            <p:spPr>
              <a:xfrm>
                <a:off x="9541497" y="7199494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2150B26E-162C-6547-A215-96C9E1F3D965}"/>
                  </a:ext>
                </a:extLst>
              </p:cNvPr>
              <p:cNvSpPr txBox="1"/>
              <p:nvPr userDrawn="1"/>
            </p:nvSpPr>
            <p:spPr>
              <a:xfrm>
                <a:off x="9907688" y="732829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Crop Image </a:t>
                </a:r>
              </a:p>
            </p:txBody>
          </p:sp>
          <p:pic>
            <p:nvPicPr>
              <p:cNvPr id="145" name="Graphic 144">
                <a:extLst>
                  <a:ext uri="{FF2B5EF4-FFF2-40B4-BE49-F238E27FC236}">
                    <a16:creationId xmlns:a16="http://schemas.microsoft.com/office/drawing/2014/main" id="{B7C5CED2-A0E3-BC4E-91D6-56BB03F90E1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733857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BF216341-3721-3F4D-8307-92E095EF4A01}"/>
                  </a:ext>
                </a:extLst>
              </p:cNvPr>
              <p:cNvSpPr txBox="1"/>
              <p:nvPr userDrawn="1"/>
            </p:nvSpPr>
            <p:spPr>
              <a:xfrm>
                <a:off x="9701720" y="7592477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Right-click on the image. 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Choose “Crop” from the menu. ( ) 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Adjust the size and position of the image. 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Press Esc or click outside the image area to exit the cropping mode. </a:t>
                </a:r>
              </a:p>
            </p:txBody>
          </p:sp>
          <p:pic>
            <p:nvPicPr>
              <p:cNvPr id="147" name="Picture 146">
                <a:extLst>
                  <a:ext uri="{FF2B5EF4-FFF2-40B4-BE49-F238E27FC236}">
                    <a16:creationId xmlns:a16="http://schemas.microsoft.com/office/drawing/2014/main" id="{06858368-B053-6843-9D5C-3B4B3F34915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498723" y="7676910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E31E6EE2-4F47-504B-B3F7-9B15B3C8AF2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30378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 1 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349068D4-361C-5C46-A532-3801C2F1365D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799341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 2 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F2DCEAA6-A668-EA47-BC03-B82CE31AF08C}"/>
                  </a:ext>
                </a:extLst>
              </p:cNvPr>
              <p:cNvSpPr txBox="1"/>
              <p:nvPr userDrawn="1"/>
            </p:nvSpPr>
            <p:spPr>
              <a:xfrm>
                <a:off x="9686426" y="4278760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 Select and download images from the Marketing Resource Database. </a:t>
                </a:r>
              </a:p>
              <a:p>
                <a:pPr lvl="0"/>
                <a:r>
                  <a:rPr lang="en-US" dirty="0"/>
                  <a:t> Add the image to the placeholder. </a:t>
                </a:r>
              </a:p>
            </p:txBody>
          </p:sp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488662D1-77FE-D34D-BFA8-B58A59DB47EA}"/>
                  </a:ext>
                </a:extLst>
              </p:cNvPr>
              <p:cNvSpPr txBox="1"/>
              <p:nvPr userDrawn="1"/>
            </p:nvSpPr>
            <p:spPr>
              <a:xfrm>
                <a:off x="9674267" y="5297872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 Note: If there are multiple image placeholders on the slide, select the intended placeholder before dragging in the image to let PowerPoint know where you want it. </a:t>
                </a:r>
              </a:p>
            </p:txBody>
          </p:sp>
          <p:sp>
            <p:nvSpPr>
              <p:cNvPr id="123" name="TextBox 122">
                <a:extLst>
                  <a:ext uri="{FF2B5EF4-FFF2-40B4-BE49-F238E27FC236}">
                    <a16:creationId xmlns:a16="http://schemas.microsoft.com/office/drawing/2014/main" id="{10E9AA29-096E-D54C-95D4-EFDFFD7CC612}"/>
                  </a:ext>
                </a:extLst>
              </p:cNvPr>
              <p:cNvSpPr txBox="1"/>
              <p:nvPr userDrawn="1"/>
            </p:nvSpPr>
            <p:spPr>
              <a:xfrm>
                <a:off x="9686426" y="5713129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 Method 2: </a:t>
                </a:r>
                <a:r>
                  <a:rPr lang="en-US" sz="600" b="0" dirty="0"/>
                  <a:t> Paste from clipboard </a:t>
                </a:r>
              </a:p>
              <a:p>
                <a:pPr lvl="1">
                  <a:buNone/>
                </a:pPr>
                <a:r>
                  <a:rPr lang="en-US" sz="1050" dirty="0"/>
                  <a:t> Select the image placeholder. </a:t>
                </a:r>
              </a:p>
              <a:p>
                <a:pPr lvl="1">
                  <a:buNone/>
                </a:pPr>
                <a:r>
                  <a:rPr lang="en-US" sz="1050" dirty="0"/>
                  <a:t> Right-click or use keyboard shortcuts to paste the image. </a:t>
                </a: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0B4A71BF-5B38-0644-8E4F-605A80E979B2}"/>
                  </a:ext>
                </a:extLst>
              </p:cNvPr>
              <p:cNvSpPr txBox="1"/>
              <p:nvPr userDrawn="1"/>
            </p:nvSpPr>
            <p:spPr>
              <a:xfrm>
                <a:off x="9686426" y="6433219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 Method 3: </a:t>
                </a:r>
                <a:r>
                  <a:rPr lang="en-US" sz="600" b="0" dirty="0"/>
                  <a:t> Placeholder icon </a:t>
                </a:r>
              </a:p>
              <a:p>
                <a:pPr lvl="1">
                  <a:buNone/>
                </a:pPr>
                <a:r>
                  <a:rPr lang="en-US" sz="1050" dirty="0"/>
                  <a:t> Click the image icon inside the placeholder to browse for an image. </a:t>
                </a: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2A674F33-12AC-0340-BFB9-C1CA46F83893}"/>
                  </a:ext>
                </a:extLst>
              </p:cNvPr>
              <p:cNvSpPr txBox="1"/>
              <p:nvPr userDrawn="1"/>
            </p:nvSpPr>
            <p:spPr>
              <a:xfrm>
                <a:off x="9674267" y="6863782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 Note: This icon may be covered by another element. </a:t>
                </a:r>
                <a:br>
                  <a:rPr lang="en-US" sz="700" dirty="0"/>
                </a:br>
                <a:r>
                  <a:rPr lang="en-US" sz="700" dirty="0"/>
                  <a:t> In this case use one of the other methods. </a:t>
                </a:r>
              </a:p>
            </p:txBody>
          </p: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318F2069-729F-9B4A-8445-081E2247CBB1}"/>
                  </a:ext>
                </a:extLst>
              </p:cNvPr>
              <p:cNvSpPr/>
              <p:nvPr userDrawn="1"/>
            </p:nvSpPr>
            <p:spPr>
              <a:xfrm>
                <a:off x="9541497" y="2531409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905C9F4A-8864-BA4C-B90C-28BC8E5E724C}"/>
                  </a:ext>
                </a:extLst>
              </p:cNvPr>
              <p:cNvSpPr txBox="1"/>
              <p:nvPr userDrawn="1"/>
            </p:nvSpPr>
            <p:spPr>
              <a:xfrm>
                <a:off x="9907688" y="2660209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 TIP: Adjust overlay text box size </a:t>
                </a:r>
              </a:p>
            </p:txBody>
          </p:sp>
          <p:pic>
            <p:nvPicPr>
              <p:cNvPr id="131" name="Graphic 130">
                <a:extLst>
                  <a:ext uri="{FF2B5EF4-FFF2-40B4-BE49-F238E27FC236}">
                    <a16:creationId xmlns:a16="http://schemas.microsoft.com/office/drawing/2014/main" id="{F23C5373-D4CD-5047-843F-B92DB290985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670492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C0F58EBC-DF0A-A441-813C-62553D74D316}"/>
                  </a:ext>
                </a:extLst>
              </p:cNvPr>
              <p:cNvSpPr txBox="1"/>
              <p:nvPr userDrawn="1"/>
            </p:nvSpPr>
            <p:spPr>
              <a:xfrm>
                <a:off x="9701720" y="2924393"/>
                <a:ext cx="2214055" cy="78636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If extra space is required for content, use the size handle on this shape to extend the right edge of the shape to the “2/3rds” slide ruler mark. 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 Turn on guides (View &gt; Guides) to enable snapping. 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C8FA2963-29D5-4B4C-9DB5-0731074098A4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4" y="6200775"/>
            <a:ext cx="2742875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</p:spTree>
    <p:extLst>
      <p:ext uri="{BB962C8B-B14F-4D97-AF65-F5344CB8AC3E}">
        <p14:creationId xmlns:p14="http://schemas.microsoft.com/office/powerpoint/2010/main" val="3930270987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istics Text Over Graphic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041452B9-404B-4B43-893C-BB42AF2A9105}"/>
              </a:ext>
            </a:extLst>
          </p:cNvPr>
          <p:cNvSpPr txBox="1">
            <a:spLocks/>
          </p:cNvSpPr>
          <p:nvPr userDrawn="1"/>
        </p:nvSpPr>
        <p:spPr>
          <a:xfrm>
            <a:off x="0" y="6200776"/>
            <a:ext cx="9144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6ACA9DB-4044-6F42-96B1-45EBCD182B84}"/>
              </a:ext>
            </a:extLst>
          </p:cNvPr>
          <p:cNvGrpSpPr/>
          <p:nvPr userDrawn="1"/>
        </p:nvGrpSpPr>
        <p:grpSpPr>
          <a:xfrm>
            <a:off x="-254939" y="-244225"/>
            <a:ext cx="9657928" cy="7348688"/>
            <a:chOff x="-254939" y="-244225"/>
            <a:chExt cx="9657928" cy="734868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5C25219-E915-0247-86A1-22585D6E3093}"/>
                </a:ext>
              </a:extLst>
            </p:cNvPr>
            <p:cNvGrpSpPr/>
            <p:nvPr userDrawn="1"/>
          </p:nvGrpSpPr>
          <p:grpSpPr>
            <a:xfrm>
              <a:off x="433266" y="6867287"/>
              <a:ext cx="8280398" cy="235792"/>
              <a:chOff x="431801" y="-235792"/>
              <a:chExt cx="4400550" cy="235792"/>
            </a:xfrm>
          </p:grpSpPr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E473508A-53E9-294C-8A55-AA67E2E362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AEE1771F-109C-B54D-8B81-A3B0F5D0C4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31062115-5946-2E4B-8C29-C85175435B4D}"/>
                </a:ext>
              </a:extLst>
            </p:cNvPr>
            <p:cNvGrpSpPr/>
            <p:nvPr userDrawn="1"/>
          </p:nvGrpSpPr>
          <p:grpSpPr>
            <a:xfrm>
              <a:off x="-254939" y="6202098"/>
              <a:ext cx="251461" cy="505509"/>
              <a:chOff x="-256403" y="6200775"/>
              <a:chExt cx="251461" cy="505509"/>
            </a:xfrm>
          </p:grpSpPr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47C326A5-BE4B-1442-AC13-B44C5D4792CF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DBB5637D-AB15-E04F-A1B6-3A283BA1C6F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A1D7E4D6-88A2-7E4B-9284-DCED9F79105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393F5F7-24EF-2745-BC86-DF4C9F389FCB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F75E910D-9604-9D4F-90E2-EF81D37C867B}"/>
                  </a:ext>
                </a:extLst>
              </p:cNvPr>
              <p:cNvSpPr txBox="1"/>
              <p:nvPr userDrawn="1"/>
            </p:nvSpPr>
            <p:spPr>
              <a:xfrm rot="16200000">
                <a:off x="-284561" y="6378258"/>
                <a:ext cx="307777" cy="172355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292BBFA4-5FEF-524D-AD01-F867D593722F}"/>
                </a:ext>
              </a:extLst>
            </p:cNvPr>
            <p:cNvGrpSpPr/>
            <p:nvPr userDrawn="1"/>
          </p:nvGrpSpPr>
          <p:grpSpPr>
            <a:xfrm>
              <a:off x="433264" y="-244225"/>
              <a:ext cx="8280401" cy="235792"/>
              <a:chOff x="431800" y="-240735"/>
              <a:chExt cx="8280401" cy="235792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A2E8C57-7A20-F840-9308-5611AA6C77E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70" name="Straight Connector 69">
                  <a:extLst>
                    <a:ext uri="{FF2B5EF4-FFF2-40B4-BE49-F238E27FC236}">
                      <a16:creationId xmlns:a16="http://schemas.microsoft.com/office/drawing/2014/main" id="{35EF9DEA-530C-4B42-B0F7-9C7D4C25A0A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B71C38FE-1DD7-7B4D-B6D4-CEB6C6D31A2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B274FA2B-3A29-0F4D-A4D3-1E12B5D4CEF3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F99FA91-ECED-4D43-BCE4-7FAD08FA3B04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B34B6B73-1081-0E44-AF98-571C7E0BD066}"/>
                  </a:ext>
                </a:extLst>
              </p:cNvPr>
              <p:cNvCxnSpPr>
                <a:cxnSpLocks/>
                <a:stCxn id="67" idx="1"/>
                <a:endCxn id="72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CF09107-5C11-FD44-BFDC-AE93DE20F6F2}"/>
                  </a:ext>
                </a:extLst>
              </p:cNvPr>
              <p:cNvCxnSpPr>
                <a:cxnSpLocks/>
                <a:stCxn id="67" idx="3"/>
                <a:endCxn id="72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D62B5D38-D820-3845-8687-4B3E3C84C708}"/>
                </a:ext>
              </a:extLst>
            </p:cNvPr>
            <p:cNvGrpSpPr/>
            <p:nvPr userDrawn="1"/>
          </p:nvGrpSpPr>
          <p:grpSpPr>
            <a:xfrm rot="16200000">
              <a:off x="9024504" y="6329122"/>
              <a:ext cx="505509" cy="251461"/>
              <a:chOff x="431801" y="-235792"/>
              <a:chExt cx="4400550" cy="235792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4872C320-D6C1-DA4E-9AD7-B7A0A8B4D5B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EAF17C3F-BCF7-E84D-B2B3-0197BB3DE5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6482D8A-4DDA-CF4B-9EFA-753740F85D70}"/>
                </a:ext>
              </a:extLst>
            </p:cNvPr>
            <p:cNvGrpSpPr/>
            <p:nvPr userDrawn="1"/>
          </p:nvGrpSpPr>
          <p:grpSpPr>
            <a:xfrm>
              <a:off x="-254939" y="420689"/>
              <a:ext cx="9657928" cy="5746484"/>
              <a:chOff x="-254939" y="1236195"/>
              <a:chExt cx="9657928" cy="4930977"/>
            </a:xfrm>
          </p:grpSpPr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A0B2552-2063-B94B-8753-4FFD2EFDAEFA}"/>
                  </a:ext>
                </a:extLst>
              </p:cNvPr>
              <p:cNvGrpSpPr/>
              <p:nvPr userDrawn="1"/>
            </p:nvGrpSpPr>
            <p:grpSpPr>
              <a:xfrm>
                <a:off x="-254939" y="1236195"/>
                <a:ext cx="251461" cy="4930977"/>
                <a:chOff x="-256403" y="1304924"/>
                <a:chExt cx="251461" cy="4843215"/>
              </a:xfrm>
            </p:grpSpPr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3E908781-EB9C-7F43-9C77-51D6DF0D08FB}"/>
                    </a:ext>
                  </a:extLst>
                </p:cNvPr>
                <p:cNvGrpSpPr/>
                <p:nvPr userDrawn="1"/>
              </p:nvGrpSpPr>
              <p:grpSpPr>
                <a:xfrm rot="16200000">
                  <a:off x="-2552280" y="3600801"/>
                  <a:ext cx="4843215" cy="251461"/>
                  <a:chOff x="431800" y="-235792"/>
                  <a:chExt cx="4400551" cy="235792"/>
                </a:xfrm>
              </p:grpSpPr>
              <p:cxnSp>
                <p:nvCxnSpPr>
                  <p:cNvPr id="80" name="Straight Connector 79">
                    <a:extLst>
                      <a:ext uri="{FF2B5EF4-FFF2-40B4-BE49-F238E27FC236}">
                        <a16:creationId xmlns:a16="http://schemas.microsoft.com/office/drawing/2014/main" id="{6348B6E7-397E-7443-A5B3-B13B784EE03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>
                    <a:extLst>
                      <a:ext uri="{FF2B5EF4-FFF2-40B4-BE49-F238E27FC236}">
                        <a16:creationId xmlns:a16="http://schemas.microsoft.com/office/drawing/2014/main" id="{DCC8C989-AEB2-1342-A4F6-C0CE5593C320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E694B1DC-BFA9-8E48-96CE-C60F1DE2D2C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FC816E2B-0C94-D948-9F64-0CD5F0050148}"/>
                    </a:ext>
                  </a:extLst>
                </p:cNvPr>
                <p:cNvSpPr txBox="1"/>
                <p:nvPr userDrawn="1"/>
              </p:nvSpPr>
              <p:spPr>
                <a:xfrm rot="16200000">
                  <a:off x="-1007565" y="3672670"/>
                  <a:ext cx="1753786" cy="107722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7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76" name="Straight Arrow Connector 75">
                  <a:extLst>
                    <a:ext uri="{FF2B5EF4-FFF2-40B4-BE49-F238E27FC236}">
                      <a16:creationId xmlns:a16="http://schemas.microsoft.com/office/drawing/2014/main" id="{9C4CC1A9-A535-1144-8940-768AF7ABE4E6}"/>
                    </a:ext>
                  </a:extLst>
                </p:cNvPr>
                <p:cNvCxnSpPr>
                  <a:cxnSpLocks/>
                  <a:stCxn id="75" idx="1"/>
                </p:cNvCxnSpPr>
                <p:nvPr userDrawn="1"/>
              </p:nvCxnSpPr>
              <p:spPr>
                <a:xfrm>
                  <a:off x="-130672" y="4603424"/>
                  <a:ext cx="0" cy="1544714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Arrow Connector 76">
                  <a:extLst>
                    <a:ext uri="{FF2B5EF4-FFF2-40B4-BE49-F238E27FC236}">
                      <a16:creationId xmlns:a16="http://schemas.microsoft.com/office/drawing/2014/main" id="{019F48B9-23E2-DA45-B7FC-8F11E3B079C4}"/>
                    </a:ext>
                  </a:extLst>
                </p:cNvPr>
                <p:cNvCxnSpPr>
                  <a:cxnSpLocks/>
                  <a:stCxn id="75" idx="3"/>
                </p:cNvCxnSpPr>
                <p:nvPr userDrawn="1"/>
              </p:nvCxnSpPr>
              <p:spPr>
                <a:xfrm flipH="1" flipV="1">
                  <a:off x="-130673" y="1304928"/>
                  <a:ext cx="1" cy="154471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D55D1E59-56A3-A24A-8DE5-328F3950FCC9}"/>
                  </a:ext>
                </a:extLst>
              </p:cNvPr>
              <p:cNvGrpSpPr/>
              <p:nvPr userDrawn="1"/>
            </p:nvGrpSpPr>
            <p:grpSpPr>
              <a:xfrm rot="16200000">
                <a:off x="6812666" y="3576847"/>
                <a:ext cx="4929186" cy="251461"/>
                <a:chOff x="431801" y="-235792"/>
                <a:chExt cx="4462347" cy="235792"/>
              </a:xfrm>
            </p:grpSpPr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E20DEBD3-0096-5648-87C1-52DA194811C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94148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>
                  <a:extLst>
                    <a:ext uri="{FF2B5EF4-FFF2-40B4-BE49-F238E27FC236}">
                      <a16:creationId xmlns:a16="http://schemas.microsoft.com/office/drawing/2014/main" id="{FBF68087-6890-E04C-840F-0B5D5B30DC9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5BB4E0DB-92A2-CE4B-A4D4-C21071C96CD3}"/>
                </a:ext>
              </a:extLst>
            </p:cNvPr>
            <p:cNvGrpSpPr/>
            <p:nvPr userDrawn="1"/>
          </p:nvGrpSpPr>
          <p:grpSpPr>
            <a:xfrm>
              <a:off x="3094567" y="6868673"/>
              <a:ext cx="2989225" cy="235790"/>
              <a:chOff x="3092534" y="6869197"/>
              <a:chExt cx="2989225" cy="235790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57650860-F98A-2D48-91EC-A5A2807BDC6C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110" name="Straight Connector 109">
                  <a:extLst>
                    <a:ext uri="{FF2B5EF4-FFF2-40B4-BE49-F238E27FC236}">
                      <a16:creationId xmlns:a16="http://schemas.microsoft.com/office/drawing/2014/main" id="{C0D7E8B1-DE64-BA4B-916D-7BA67CF2D79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347BA98E-93B4-5545-9E4E-912B913A534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E53E46C5-BA51-D94B-A108-538A6E5925D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8481EF9-B9B8-5944-A70D-4FBD6F01668A}"/>
                  </a:ext>
                </a:extLst>
              </p:cNvPr>
              <p:cNvSpPr txBox="1"/>
              <p:nvPr userDrawn="1"/>
            </p:nvSpPr>
            <p:spPr>
              <a:xfrm>
                <a:off x="3092534" y="6954537"/>
                <a:ext cx="21159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650" kern="120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9B8FEDA2-CA5E-DB41-B9C8-5477A54FB095}"/>
                  </a:ext>
                </a:extLst>
              </p:cNvPr>
              <p:cNvSpPr txBox="1"/>
              <p:nvPr userDrawn="1"/>
            </p:nvSpPr>
            <p:spPr>
              <a:xfrm>
                <a:off x="4459538" y="6954537"/>
                <a:ext cx="22762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95AD9D7F-B960-1248-B6F7-12B9FEDAAF39}"/>
                  </a:ext>
                </a:extLst>
              </p:cNvPr>
              <p:cNvSpPr txBox="1"/>
              <p:nvPr userDrawn="1"/>
            </p:nvSpPr>
            <p:spPr>
              <a:xfrm>
                <a:off x="5839705" y="6954537"/>
                <a:ext cx="242054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65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106" name="Group 105">
                <a:extLst>
                  <a:ext uri="{FF2B5EF4-FFF2-40B4-BE49-F238E27FC236}">
                    <a16:creationId xmlns:a16="http://schemas.microsoft.com/office/drawing/2014/main" id="{F018DC65-22A5-C346-8BF0-7E16A1FC62E9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E67C92E6-78A9-F947-92B0-F6468A7334E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>
                  <a:extLst>
                    <a:ext uri="{FF2B5EF4-FFF2-40B4-BE49-F238E27FC236}">
                      <a16:creationId xmlns:a16="http://schemas.microsoft.com/office/drawing/2014/main" id="{D27020A8-1DFE-AD41-98F4-8C87CFF0EED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>
                  <a:extLst>
                    <a:ext uri="{FF2B5EF4-FFF2-40B4-BE49-F238E27FC236}">
                      <a16:creationId xmlns:a16="http://schemas.microsoft.com/office/drawing/2014/main" id="{FADC7F65-2D38-BF45-951F-C8F488F976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7" name="Picture Placeholder 10">
            <a:extLst>
              <a:ext uri="{FF2B5EF4-FFF2-40B4-BE49-F238E27FC236}">
                <a16:creationId xmlns:a16="http://schemas.microsoft.com/office/drawing/2014/main" id="{D9C96E41-86C9-6047-85B6-214B5F3F109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rIns="432000" anchor="ctr">
            <a:noAutofit/>
          </a:bodyPr>
          <a:lstStyle>
            <a:lvl1pPr algn="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200" name="First Content Placeholder">
            <a:extLst>
              <a:ext uri="{FF2B5EF4-FFF2-40B4-BE49-F238E27FC236}">
                <a16:creationId xmlns:a16="http://schemas.microsoft.com/office/drawing/2014/main" id="{DC9253A4-356A-9740-9187-428DE58AB885}"/>
              </a:ext>
            </a:extLst>
          </p:cNvPr>
          <p:cNvSpPr>
            <a:spLocks noGrp="1"/>
          </p:cNvSpPr>
          <p:nvPr>
            <p:ph type="body" sz="quarter" idx="200"/>
          </p:nvPr>
        </p:nvSpPr>
        <p:spPr>
          <a:xfrm>
            <a:off x="0" y="0"/>
            <a:ext cx="4572000" cy="6858000"/>
          </a:xfrm>
          <a:gradFill>
            <a:gsLst>
              <a:gs pos="13000">
                <a:schemeClr val="accent1"/>
              </a:gs>
              <a:gs pos="97000">
                <a:schemeClr val="accent1">
                  <a:alpha val="90000"/>
                </a:schemeClr>
              </a:gs>
            </a:gsLst>
            <a:lin ang="5400000" scaled="0"/>
          </a:gradFill>
        </p:spPr>
        <p:txBody>
          <a:bodyPr lIns="432000" rIns="360000" bIns="360000"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1518A119-6232-A242-B4A2-83D06D216BA9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800" y="6200775"/>
            <a:ext cx="3700586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FE84BD5-7F9D-AE47-BCAB-D3922B3DA1BC}"/>
              </a:ext>
            </a:extLst>
          </p:cNvPr>
          <p:cNvSpPr>
            <a:spLocks noGrp="1"/>
          </p:cNvSpPr>
          <p:nvPr>
            <p:ph type="dt" sz="half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FF406A-59D4-BB4E-A45D-EEB4EEBCE329}"/>
              </a:ext>
            </a:extLst>
          </p:cNvPr>
          <p:cNvSpPr>
            <a:spLocks noGrp="1"/>
          </p:cNvSpPr>
          <p:nvPr>
            <p:ph type="ftr" sz="quarter" idx="1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9E870A-0204-114F-9189-EE4D27C77AFE}"/>
              </a:ext>
            </a:extLst>
          </p:cNvPr>
          <p:cNvSpPr>
            <a:spLocks noGrp="1"/>
          </p:cNvSpPr>
          <p:nvPr>
            <p:ph type="sldNum" sz="quarter" idx="112"/>
          </p:nvPr>
        </p:nvSpPr>
        <p:spPr>
          <a:noFill/>
        </p:spPr>
        <p:txBody>
          <a:bodyPr/>
          <a:lstStyle>
            <a:lvl1pPr>
              <a:defRPr lang="en-US" smtClean="0"/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CA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CA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84FC32F-D780-2C41-B31E-1F1C7720CD48}"/>
              </a:ext>
            </a:extLst>
          </p:cNvPr>
          <p:cNvGrpSpPr/>
          <p:nvPr userDrawn="1"/>
        </p:nvGrpSpPr>
        <p:grpSpPr>
          <a:xfrm>
            <a:off x="9399182" y="-1"/>
            <a:ext cx="2961715" cy="9658589"/>
            <a:chOff x="9399182" y="-1"/>
            <a:chExt cx="2961715" cy="9658589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1F6701BF-092D-2F4F-9D3D-CB526578FD23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4869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63" name="Picture 162">
              <a:extLst>
                <a:ext uri="{FF2B5EF4-FFF2-40B4-BE49-F238E27FC236}">
                  <a16:creationId xmlns:a16="http://schemas.microsoft.com/office/drawing/2014/main" id="{2D12CE45-289D-6B47-8827-232211E4A4E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1482" r="50733" b="17784"/>
            <a:stretch/>
          </p:blipFill>
          <p:spPr>
            <a:xfrm>
              <a:off x="9558506" y="1332920"/>
              <a:ext cx="2639326" cy="746975"/>
            </a:xfrm>
            <a:prstGeom prst="rect">
              <a:avLst/>
            </a:prstGeom>
          </p:spPr>
        </p:pic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E06DB9A1-FD76-8C4E-AA60-A3215A54B22B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9B6A22A1-5D5B-4A45-9873-94CDE4AF538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7ABB8F1D-E85A-ED44-9693-9F13743BAED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56" name="Picture 155">
                <a:extLst>
                  <a:ext uri="{FF2B5EF4-FFF2-40B4-BE49-F238E27FC236}">
                    <a16:creationId xmlns:a16="http://schemas.microsoft.com/office/drawing/2014/main" id="{20DBD003-BD74-534F-B6C9-503C1716230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00987C7D-6B58-624B-A8C2-E1C8B5B41655}"/>
                </a:ext>
              </a:extLst>
            </p:cNvPr>
            <p:cNvSpPr txBox="1"/>
            <p:nvPr userDrawn="1"/>
          </p:nvSpPr>
          <p:spPr>
            <a:xfrm>
              <a:off x="9558507" y="3644763"/>
              <a:ext cx="164468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76A5E172-F2DB-AB47-BF8B-E04905D4DF3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847380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73686235-423F-604C-911D-620F011D49F8}"/>
                </a:ext>
              </a:extLst>
            </p:cNvPr>
            <p:cNvSpPr txBox="1"/>
            <p:nvPr userDrawn="1"/>
          </p:nvSpPr>
          <p:spPr>
            <a:xfrm>
              <a:off x="9686426" y="4705690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 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74431D0C-E5D7-5C4B-B34D-ED622DCEC90B}"/>
                </a:ext>
              </a:extLst>
            </p:cNvPr>
            <p:cNvGrpSpPr/>
            <p:nvPr userDrawn="1"/>
          </p:nvGrpSpPr>
          <p:grpSpPr>
            <a:xfrm>
              <a:off x="9541497" y="8247273"/>
              <a:ext cx="2735151" cy="1411315"/>
              <a:chOff x="9296567" y="4910411"/>
              <a:chExt cx="2735151" cy="1411315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3EE33C6F-C414-704B-930C-49B6415FB0D1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C7770F39-017B-9A4E-B2C7-C48397F86E0F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50" name="Graphic 149">
                <a:extLst>
                  <a:ext uri="{FF2B5EF4-FFF2-40B4-BE49-F238E27FC236}">
                    <a16:creationId xmlns:a16="http://schemas.microsoft.com/office/drawing/2014/main" id="{2B06D124-E28F-144C-A1A8-A9F9DCEDD39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217354F4-3327-F641-8A6E-7CF3A11F0418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13353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C21E8267-10D6-A74C-9247-CF15A2756B51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33236540-7695-CC4F-8B5C-2A70FAD9ED38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CC75D71-084C-2841-A6C3-E4B52088D324}"/>
                </a:ext>
              </a:extLst>
            </p:cNvPr>
            <p:cNvGrpSpPr/>
            <p:nvPr userDrawn="1"/>
          </p:nvGrpSpPr>
          <p:grpSpPr>
            <a:xfrm>
              <a:off x="9541497" y="6890617"/>
              <a:ext cx="2735151" cy="1280928"/>
              <a:chOff x="9286315" y="6976989"/>
              <a:chExt cx="2735151" cy="1280928"/>
            </a:xfrm>
          </p:grpSpPr>
          <p:sp>
            <p:nvSpPr>
              <p:cNvPr id="138" name="Rectangle 137">
                <a:extLst>
                  <a:ext uri="{FF2B5EF4-FFF2-40B4-BE49-F238E27FC236}">
                    <a16:creationId xmlns:a16="http://schemas.microsoft.com/office/drawing/2014/main" id="{80A4814C-F3C9-8E4D-A7A3-91D0BBB9B2DE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9E22E78A-6530-6E49-B5B6-FE675F4954F7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45" name="Graphic 144">
                <a:extLst>
                  <a:ext uri="{FF2B5EF4-FFF2-40B4-BE49-F238E27FC236}">
                    <a16:creationId xmlns:a16="http://schemas.microsoft.com/office/drawing/2014/main" id="{DABEDA03-6252-DA49-BF04-D4C0068F703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8636DC60-0BA4-B64F-91F4-B8555CA43CB7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47" name="Picture 146">
                <a:extLst>
                  <a:ext uri="{FF2B5EF4-FFF2-40B4-BE49-F238E27FC236}">
                    <a16:creationId xmlns:a16="http://schemas.microsoft.com/office/drawing/2014/main" id="{9C06CF34-F5E9-FF43-92FC-A8A12A5E751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38052344-BDD9-5C4C-BCF9-CDD928F9ABEF}"/>
                </a:ext>
              </a:extLst>
            </p:cNvPr>
            <p:cNvGrpSpPr/>
            <p:nvPr userDrawn="1"/>
          </p:nvGrpSpPr>
          <p:grpSpPr>
            <a:xfrm>
              <a:off x="9521833" y="3969883"/>
              <a:ext cx="2617883" cy="651460"/>
              <a:chOff x="12352022" y="513115"/>
              <a:chExt cx="2617883" cy="651460"/>
            </a:xfrm>
          </p:grpSpPr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EA326582-6206-9448-AC3D-D3956871747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4064E1A2-6908-7D4E-AED8-AABD4AFAA4D9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26F5F72F-54E6-6444-AD2C-1C7049E062D7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</p:grp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ADF7B1D-21B9-4A43-9883-156AF8A7FE24}"/>
                </a:ext>
              </a:extLst>
            </p:cNvPr>
            <p:cNvSpPr txBox="1"/>
            <p:nvPr userDrawn="1"/>
          </p:nvSpPr>
          <p:spPr>
            <a:xfrm>
              <a:off x="9674267" y="4988995"/>
              <a:ext cx="2374733" cy="2908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D008BFE-F284-7448-B84A-6DC42232D3A9}"/>
                </a:ext>
              </a:extLst>
            </p:cNvPr>
            <p:cNvSpPr txBox="1"/>
            <p:nvPr userDrawn="1"/>
          </p:nvSpPr>
          <p:spPr>
            <a:xfrm>
              <a:off x="9686426" y="5404252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 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3BA44DCB-A3AF-9546-85AA-0C8080A538B5}"/>
                </a:ext>
              </a:extLst>
            </p:cNvPr>
            <p:cNvSpPr txBox="1"/>
            <p:nvPr userDrawn="1"/>
          </p:nvSpPr>
          <p:spPr>
            <a:xfrm>
              <a:off x="9686426" y="6124342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 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495F74B5-1BAA-CF4B-B826-677D9A1B2C48}"/>
                </a:ext>
              </a:extLst>
            </p:cNvPr>
            <p:cNvSpPr txBox="1"/>
            <p:nvPr userDrawn="1"/>
          </p:nvSpPr>
          <p:spPr>
            <a:xfrm>
              <a:off x="9674267" y="6554905"/>
              <a:ext cx="2374733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3F7CB717-E705-2840-9197-C78C7B64E71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C57B530B-447D-4A4B-9F77-9EBFE328878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62FAFE70-D4B2-8F4F-9523-F66BEB76844C}"/>
                </a:ext>
              </a:extLst>
            </p:cNvPr>
            <p:cNvGrpSpPr/>
            <p:nvPr userDrawn="1"/>
          </p:nvGrpSpPr>
          <p:grpSpPr>
            <a:xfrm>
              <a:off x="9541497" y="2222532"/>
              <a:ext cx="2735151" cy="1326215"/>
              <a:chOff x="9286315" y="6976988"/>
              <a:chExt cx="2735151" cy="1326215"/>
            </a:xfrm>
          </p:grpSpPr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E47B8ADC-2456-1243-95C8-E860AAB723D4}"/>
                  </a:ext>
                </a:extLst>
              </p:cNvPr>
              <p:cNvSpPr/>
              <p:nvPr userDrawn="1"/>
            </p:nvSpPr>
            <p:spPr>
              <a:xfrm>
                <a:off x="9286315" y="6976988"/>
                <a:ext cx="2735151" cy="13262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EDAA5B06-10D3-584A-BD73-861E5B9ACB56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Adjust overlay text box size</a:t>
                </a:r>
              </a:p>
            </p:txBody>
          </p:sp>
          <p:pic>
            <p:nvPicPr>
              <p:cNvPr id="131" name="Graphic 130">
                <a:extLst>
                  <a:ext uri="{FF2B5EF4-FFF2-40B4-BE49-F238E27FC236}">
                    <a16:creationId xmlns:a16="http://schemas.microsoft.com/office/drawing/2014/main" id="{161E4833-BB86-994F-833D-93E67F55990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8DAA1AE3-7284-B649-9EEF-97FFE151F8C8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214055" cy="78636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If extra space is required for content, use the size handle on this shape to extend the right edge of the shape to the “2/3rds” slide ruler mark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urn on guides (View &gt; Guides) to enable snapping.</a:t>
                </a:r>
              </a:p>
            </p:txBody>
          </p:sp>
        </p:grpSp>
      </p:grpSp>
      <p:sp>
        <p:nvSpPr>
          <p:cNvPr id="500" name="Caption">
            <a:extLst>
              <a:ext uri="{FF2B5EF4-FFF2-40B4-BE49-F238E27FC236}">
                <a16:creationId xmlns:a16="http://schemas.microsoft.com/office/drawing/2014/main" id="{659A1A30-0D40-E04A-93E5-5EBF0216ED61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5960284" y="6200775"/>
            <a:ext cx="2742875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tx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tx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tx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tx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tx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tx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tx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tx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</p:spTree>
    <p:extLst>
      <p:ext uri="{BB962C8B-B14F-4D97-AF65-F5344CB8AC3E}">
        <p14:creationId xmlns:p14="http://schemas.microsoft.com/office/powerpoint/2010/main" val="3770951863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nking (Left) and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E403CC8-0AF4-0B41-9F00-0561FB8057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59475" y="0"/>
            <a:ext cx="3184526" cy="6858001"/>
          </a:xfrm>
          <a:custGeom>
            <a:avLst/>
            <a:gdLst>
              <a:gd name="connsiteX0" fmla="*/ 2585845 w 3184526"/>
              <a:gd name="connsiteY0" fmla="*/ 6577275 h 6858001"/>
              <a:gd name="connsiteX1" fmla="*/ 2595155 w 3184526"/>
              <a:gd name="connsiteY1" fmla="*/ 6577275 h 6858001"/>
              <a:gd name="connsiteX2" fmla="*/ 2613281 w 3184526"/>
              <a:gd name="connsiteY2" fmla="*/ 6592564 h 6858001"/>
              <a:gd name="connsiteX3" fmla="*/ 2593365 w 3184526"/>
              <a:gd name="connsiteY3" fmla="*/ 6608587 h 6858001"/>
              <a:gd name="connsiteX4" fmla="*/ 2593365 w 3184526"/>
              <a:gd name="connsiteY4" fmla="*/ 6608474 h 6858001"/>
              <a:gd name="connsiteX5" fmla="*/ 2585845 w 3184526"/>
              <a:gd name="connsiteY5" fmla="*/ 6608474 h 6858001"/>
              <a:gd name="connsiteX6" fmla="*/ 2481056 w 3184526"/>
              <a:gd name="connsiteY6" fmla="*/ 6576165 h 6858001"/>
              <a:gd name="connsiteX7" fmla="*/ 2491394 w 3184526"/>
              <a:gd name="connsiteY7" fmla="*/ 6576165 h 6858001"/>
              <a:gd name="connsiteX8" fmla="*/ 2527091 w 3184526"/>
              <a:gd name="connsiteY8" fmla="*/ 6607214 h 6858001"/>
              <a:gd name="connsiteX9" fmla="*/ 2493012 w 3184526"/>
              <a:gd name="connsiteY9" fmla="*/ 6640295 h 6858001"/>
              <a:gd name="connsiteX10" fmla="*/ 2481056 w 3184526"/>
              <a:gd name="connsiteY10" fmla="*/ 6640295 h 6858001"/>
              <a:gd name="connsiteX11" fmla="*/ 2399837 w 3184526"/>
              <a:gd name="connsiteY11" fmla="*/ 6554745 h 6858001"/>
              <a:gd name="connsiteX12" fmla="*/ 2398371 w 3184526"/>
              <a:gd name="connsiteY12" fmla="*/ 6557848 h 6858001"/>
              <a:gd name="connsiteX13" fmla="*/ 2378590 w 3184526"/>
              <a:gd name="connsiteY13" fmla="*/ 6599654 h 6858001"/>
              <a:gd name="connsiteX14" fmla="*/ 2378590 w 3184526"/>
              <a:gd name="connsiteY14" fmla="*/ 6661565 h 6858001"/>
              <a:gd name="connsiteX15" fmla="*/ 2447053 w 3184526"/>
              <a:gd name="connsiteY15" fmla="*/ 6661565 h 6858001"/>
              <a:gd name="connsiteX16" fmla="*/ 2447053 w 3184526"/>
              <a:gd name="connsiteY16" fmla="*/ 6638978 h 6858001"/>
              <a:gd name="connsiteX17" fmla="*/ 2403683 w 3184526"/>
              <a:gd name="connsiteY17" fmla="*/ 6638978 h 6858001"/>
              <a:gd name="connsiteX18" fmla="*/ 2403683 w 3184526"/>
              <a:gd name="connsiteY18" fmla="*/ 6618141 h 6858001"/>
              <a:gd name="connsiteX19" fmla="*/ 2443207 w 3184526"/>
              <a:gd name="connsiteY19" fmla="*/ 6618141 h 6858001"/>
              <a:gd name="connsiteX20" fmla="*/ 2443207 w 3184526"/>
              <a:gd name="connsiteY20" fmla="*/ 6596570 h 6858001"/>
              <a:gd name="connsiteX21" fmla="*/ 2403683 w 3184526"/>
              <a:gd name="connsiteY21" fmla="*/ 6596570 h 6858001"/>
              <a:gd name="connsiteX22" fmla="*/ 2403683 w 3184526"/>
              <a:gd name="connsiteY22" fmla="*/ 6577482 h 6858001"/>
              <a:gd name="connsiteX23" fmla="*/ 2447053 w 3184526"/>
              <a:gd name="connsiteY23" fmla="*/ 6577482 h 6858001"/>
              <a:gd name="connsiteX24" fmla="*/ 2447053 w 3184526"/>
              <a:gd name="connsiteY24" fmla="*/ 6554745 h 6858001"/>
              <a:gd name="connsiteX25" fmla="*/ 2286100 w 3184526"/>
              <a:gd name="connsiteY25" fmla="*/ 6554726 h 6858001"/>
              <a:gd name="connsiteX26" fmla="*/ 2302607 w 3184526"/>
              <a:gd name="connsiteY26" fmla="*/ 6589123 h 6858001"/>
              <a:gd name="connsiteX27" fmla="*/ 2329051 w 3184526"/>
              <a:gd name="connsiteY27" fmla="*/ 6589123 h 6858001"/>
              <a:gd name="connsiteX28" fmla="*/ 2314487 w 3184526"/>
              <a:gd name="connsiteY28" fmla="*/ 6554726 h 6858001"/>
              <a:gd name="connsiteX29" fmla="*/ 2560771 w 3184526"/>
              <a:gd name="connsiteY29" fmla="*/ 6554707 h 6858001"/>
              <a:gd name="connsiteX30" fmla="*/ 2560771 w 3184526"/>
              <a:gd name="connsiteY30" fmla="*/ 6661564 h 6858001"/>
              <a:gd name="connsiteX31" fmla="*/ 2585845 w 3184526"/>
              <a:gd name="connsiteY31" fmla="*/ 6661564 h 6858001"/>
              <a:gd name="connsiteX32" fmla="*/ 2585845 w 3184526"/>
              <a:gd name="connsiteY32" fmla="*/ 6629932 h 6858001"/>
              <a:gd name="connsiteX33" fmla="*/ 2595155 w 3184526"/>
              <a:gd name="connsiteY33" fmla="*/ 6629932 h 6858001"/>
              <a:gd name="connsiteX34" fmla="*/ 2638945 w 3184526"/>
              <a:gd name="connsiteY34" fmla="*/ 6592019 h 6858001"/>
              <a:gd name="connsiteX35" fmla="*/ 2590871 w 3184526"/>
              <a:gd name="connsiteY35" fmla="*/ 6554707 h 6858001"/>
              <a:gd name="connsiteX36" fmla="*/ 2456020 w 3184526"/>
              <a:gd name="connsiteY36" fmla="*/ 6554707 h 6858001"/>
              <a:gd name="connsiteX37" fmla="*/ 2456020 w 3184526"/>
              <a:gd name="connsiteY37" fmla="*/ 6661470 h 6858001"/>
              <a:gd name="connsiteX38" fmla="*/ 2489071 w 3184526"/>
              <a:gd name="connsiteY38" fmla="*/ 6661583 h 6858001"/>
              <a:gd name="connsiteX39" fmla="*/ 2553803 w 3184526"/>
              <a:gd name="connsiteY39" fmla="*/ 6607214 h 6858001"/>
              <a:gd name="connsiteX40" fmla="*/ 2487986 w 3184526"/>
              <a:gd name="connsiteY40" fmla="*/ 6554745 h 6858001"/>
              <a:gd name="connsiteX41" fmla="*/ 2488024 w 3184526"/>
              <a:gd name="connsiteY41" fmla="*/ 6554707 h 6858001"/>
              <a:gd name="connsiteX42" fmla="*/ 2456020 w 3184526"/>
              <a:gd name="connsiteY42" fmla="*/ 6554707 h 6858001"/>
              <a:gd name="connsiteX43" fmla="*/ 2364425 w 3184526"/>
              <a:gd name="connsiteY43" fmla="*/ 6554707 h 6858001"/>
              <a:gd name="connsiteX44" fmla="*/ 2339218 w 3184526"/>
              <a:gd name="connsiteY44" fmla="*/ 6612649 h 6858001"/>
              <a:gd name="connsiteX45" fmla="*/ 2332383 w 3184526"/>
              <a:gd name="connsiteY45" fmla="*/ 6596645 h 6858001"/>
              <a:gd name="connsiteX46" fmla="*/ 2306148 w 3184526"/>
              <a:gd name="connsiteY46" fmla="*/ 6596645 h 6858001"/>
              <a:gd name="connsiteX47" fmla="*/ 2337467 w 3184526"/>
              <a:gd name="connsiteY47" fmla="*/ 6661978 h 6858001"/>
              <a:gd name="connsiteX48" fmla="*/ 2340380 w 3184526"/>
              <a:gd name="connsiteY48" fmla="*/ 6661978 h 6858001"/>
              <a:gd name="connsiteX49" fmla="*/ 2391118 w 3184526"/>
              <a:gd name="connsiteY49" fmla="*/ 6554707 h 6858001"/>
              <a:gd name="connsiteX50" fmla="*/ 2744807 w 3184526"/>
              <a:gd name="connsiteY50" fmla="*/ 6516148 h 6858001"/>
              <a:gd name="connsiteX51" fmla="*/ 2744807 w 3184526"/>
              <a:gd name="connsiteY51" fmla="*/ 6690773 h 6858001"/>
              <a:gd name="connsiteX52" fmla="*/ 2764196 w 3184526"/>
              <a:gd name="connsiteY52" fmla="*/ 6690773 h 6858001"/>
              <a:gd name="connsiteX53" fmla="*/ 2764196 w 3184526"/>
              <a:gd name="connsiteY53" fmla="*/ 6516148 h 6858001"/>
              <a:gd name="connsiteX54" fmla="*/ 0 w 3184526"/>
              <a:gd name="connsiteY54" fmla="*/ 0 h 6858001"/>
              <a:gd name="connsiteX55" fmla="*/ 3184526 w 3184526"/>
              <a:gd name="connsiteY55" fmla="*/ 0 h 6858001"/>
              <a:gd name="connsiteX56" fmla="*/ 3184526 w 3184526"/>
              <a:gd name="connsiteY56" fmla="*/ 6858001 h 6858001"/>
              <a:gd name="connsiteX57" fmla="*/ 0 w 3184526"/>
              <a:gd name="connsiteY57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3184526" h="6858001">
                <a:moveTo>
                  <a:pt x="2585845" y="6577275"/>
                </a:moveTo>
                <a:lnTo>
                  <a:pt x="2595155" y="6577275"/>
                </a:lnTo>
                <a:cubicBezTo>
                  <a:pt x="2607531" y="6577275"/>
                  <a:pt x="2613281" y="6583970"/>
                  <a:pt x="2613281" y="6592564"/>
                </a:cubicBezTo>
                <a:cubicBezTo>
                  <a:pt x="2613281" y="6602908"/>
                  <a:pt x="2606655" y="6608587"/>
                  <a:pt x="2593365" y="6608587"/>
                </a:cubicBezTo>
                <a:lnTo>
                  <a:pt x="2593365" y="6608474"/>
                </a:lnTo>
                <a:lnTo>
                  <a:pt x="2585845" y="6608474"/>
                </a:lnTo>
                <a:close/>
                <a:moveTo>
                  <a:pt x="2481056" y="6576165"/>
                </a:moveTo>
                <a:lnTo>
                  <a:pt x="2491394" y="6576165"/>
                </a:lnTo>
                <a:cubicBezTo>
                  <a:pt x="2514697" y="6576165"/>
                  <a:pt x="2527091" y="6587825"/>
                  <a:pt x="2527091" y="6607214"/>
                </a:cubicBezTo>
                <a:cubicBezTo>
                  <a:pt x="2527091" y="6627187"/>
                  <a:pt x="2516620" y="6640295"/>
                  <a:pt x="2493012" y="6640295"/>
                </a:cubicBezTo>
                <a:lnTo>
                  <a:pt x="2481056" y="6640295"/>
                </a:lnTo>
                <a:close/>
                <a:moveTo>
                  <a:pt x="2399837" y="6554745"/>
                </a:moveTo>
                <a:lnTo>
                  <a:pt x="2398371" y="6557848"/>
                </a:lnTo>
                <a:lnTo>
                  <a:pt x="2378590" y="6599654"/>
                </a:lnTo>
                <a:lnTo>
                  <a:pt x="2378590" y="6661565"/>
                </a:lnTo>
                <a:lnTo>
                  <a:pt x="2447053" y="6661565"/>
                </a:lnTo>
                <a:lnTo>
                  <a:pt x="2447053" y="6638978"/>
                </a:lnTo>
                <a:lnTo>
                  <a:pt x="2403683" y="6638978"/>
                </a:lnTo>
                <a:lnTo>
                  <a:pt x="2403683" y="6618141"/>
                </a:lnTo>
                <a:lnTo>
                  <a:pt x="2443207" y="6618141"/>
                </a:lnTo>
                <a:lnTo>
                  <a:pt x="2443207" y="6596570"/>
                </a:lnTo>
                <a:lnTo>
                  <a:pt x="2403683" y="6596570"/>
                </a:lnTo>
                <a:lnTo>
                  <a:pt x="2403683" y="6577482"/>
                </a:lnTo>
                <a:lnTo>
                  <a:pt x="2447053" y="6577482"/>
                </a:lnTo>
                <a:lnTo>
                  <a:pt x="2447053" y="6554745"/>
                </a:lnTo>
                <a:close/>
                <a:moveTo>
                  <a:pt x="2286100" y="6554726"/>
                </a:moveTo>
                <a:lnTo>
                  <a:pt x="2302607" y="6589123"/>
                </a:lnTo>
                <a:lnTo>
                  <a:pt x="2329051" y="6589123"/>
                </a:lnTo>
                <a:lnTo>
                  <a:pt x="2314487" y="6554726"/>
                </a:lnTo>
                <a:close/>
                <a:moveTo>
                  <a:pt x="2560771" y="6554707"/>
                </a:moveTo>
                <a:lnTo>
                  <a:pt x="2560771" y="6661564"/>
                </a:lnTo>
                <a:lnTo>
                  <a:pt x="2585845" y="6661564"/>
                </a:lnTo>
                <a:lnTo>
                  <a:pt x="2585845" y="6629932"/>
                </a:lnTo>
                <a:lnTo>
                  <a:pt x="2595155" y="6629932"/>
                </a:lnTo>
                <a:cubicBezTo>
                  <a:pt x="2623714" y="6629932"/>
                  <a:pt x="2638945" y="6614041"/>
                  <a:pt x="2638945" y="6592019"/>
                </a:cubicBezTo>
                <a:cubicBezTo>
                  <a:pt x="2638964" y="6570486"/>
                  <a:pt x="2622153" y="6554707"/>
                  <a:pt x="2590871" y="6554707"/>
                </a:cubicBezTo>
                <a:close/>
                <a:moveTo>
                  <a:pt x="2456020" y="6554707"/>
                </a:moveTo>
                <a:lnTo>
                  <a:pt x="2456020" y="6661470"/>
                </a:lnTo>
                <a:cubicBezTo>
                  <a:pt x="2456020" y="6661470"/>
                  <a:pt x="2476391" y="6661583"/>
                  <a:pt x="2489071" y="6661583"/>
                </a:cubicBezTo>
                <a:cubicBezTo>
                  <a:pt x="2533907" y="6661583"/>
                  <a:pt x="2553803" y="6638696"/>
                  <a:pt x="2553803" y="6607214"/>
                </a:cubicBezTo>
                <a:cubicBezTo>
                  <a:pt x="2553803" y="6577124"/>
                  <a:pt x="2532860" y="6554745"/>
                  <a:pt x="2487986" y="6554745"/>
                </a:cubicBezTo>
                <a:lnTo>
                  <a:pt x="2488024" y="6554707"/>
                </a:lnTo>
                <a:cubicBezTo>
                  <a:pt x="2477267" y="6554707"/>
                  <a:pt x="2456020" y="6554707"/>
                  <a:pt x="2456020" y="6554707"/>
                </a:cubicBezTo>
                <a:close/>
                <a:moveTo>
                  <a:pt x="2364425" y="6554707"/>
                </a:moveTo>
                <a:lnTo>
                  <a:pt x="2339218" y="6612649"/>
                </a:lnTo>
                <a:lnTo>
                  <a:pt x="2332383" y="6596645"/>
                </a:lnTo>
                <a:lnTo>
                  <a:pt x="2306148" y="6596645"/>
                </a:lnTo>
                <a:lnTo>
                  <a:pt x="2337467" y="6661978"/>
                </a:lnTo>
                <a:lnTo>
                  <a:pt x="2340380" y="6661978"/>
                </a:lnTo>
                <a:lnTo>
                  <a:pt x="2391118" y="6554707"/>
                </a:lnTo>
                <a:close/>
                <a:moveTo>
                  <a:pt x="2744807" y="6516148"/>
                </a:moveTo>
                <a:lnTo>
                  <a:pt x="2744807" y="6690773"/>
                </a:lnTo>
                <a:lnTo>
                  <a:pt x="2764196" y="6690773"/>
                </a:lnTo>
                <a:lnTo>
                  <a:pt x="2764196" y="6516148"/>
                </a:lnTo>
                <a:close/>
                <a:moveTo>
                  <a:pt x="0" y="0"/>
                </a:moveTo>
                <a:lnTo>
                  <a:pt x="3184526" y="0"/>
                </a:lnTo>
                <a:lnTo>
                  <a:pt x="3184526" y="6858001"/>
                </a:lnTo>
                <a:lnTo>
                  <a:pt x="0" y="68580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432000" rIns="432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hoto.</a:t>
            </a:r>
            <a:br>
              <a:rPr lang="en-US" dirty="0"/>
            </a:br>
            <a:r>
              <a:rPr lang="en-US" dirty="0"/>
              <a:t>Strict rule: do not resize this image. (Crop if necessary.)</a:t>
            </a:r>
          </a:p>
        </p:txBody>
      </p:sp>
      <p:sp>
        <p:nvSpPr>
          <p:cNvPr id="116" name="Text Placeholder 21">
            <a:extLst>
              <a:ext uri="{FF2B5EF4-FFF2-40B4-BE49-F238E27FC236}">
                <a16:creationId xmlns:a16="http://schemas.microsoft.com/office/drawing/2014/main" id="{6D77A529-4F58-5E4F-95C8-1B870B6EF275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356195" y="6200775"/>
            <a:ext cx="2346964" cy="15234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118" name="Picture Placeholder 7">
            <a:extLst>
              <a:ext uri="{FF2B5EF4-FFF2-40B4-BE49-F238E27FC236}">
                <a16:creationId xmlns:a16="http://schemas.microsoft.com/office/drawing/2014/main" id="{50501BB8-75BC-4F41-A788-05E4DEAEAA35}"/>
              </a:ext>
            </a:extLst>
          </p:cNvPr>
          <p:cNvSpPr>
            <a:spLocks noGrp="1"/>
          </p:cNvSpPr>
          <p:nvPr userDrawn="1">
            <p:ph type="pic" sz="quarter" idx="108" hasCustomPrompt="1"/>
          </p:nvPr>
        </p:nvSpPr>
        <p:spPr>
          <a:xfrm>
            <a:off x="49870" y="1126869"/>
            <a:ext cx="5861832" cy="4395148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pre-designed</a:t>
            </a:r>
            <a:br>
              <a:rPr lang="en-US" dirty="0"/>
            </a:br>
            <a:r>
              <a:rPr lang="en-US" dirty="0"/>
              <a:t>ranking or quote graphic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4E28E5-6A67-0244-A79A-3AEB27D6D5DE}"/>
              </a:ext>
            </a:extLst>
          </p:cNvPr>
          <p:cNvSpPr>
            <a:spLocks noGrp="1"/>
          </p:cNvSpPr>
          <p:nvPr userDrawn="1">
            <p:ph type="dt" sz="half" idx="10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7C96B8-5877-064A-8DD0-AB1D7ECB4030}"/>
              </a:ext>
            </a:extLst>
          </p:cNvPr>
          <p:cNvSpPr>
            <a:spLocks noGrp="1"/>
          </p:cNvSpPr>
          <p:nvPr userDrawn="1">
            <p:ph type="ftr" sz="quarter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FEEDA1-ADD4-BD45-A1DD-CC2C4ADEB555}"/>
              </a:ext>
            </a:extLst>
          </p:cNvPr>
          <p:cNvSpPr>
            <a:spLocks noGrp="1"/>
          </p:cNvSpPr>
          <p:nvPr userDrawn="1">
            <p:ph type="sldNum" sz="quarter" idx="1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763432E-81DC-9141-B4E0-A88D726ADFFC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399182" y="-1"/>
            <a:chExt cx="2874210" cy="685800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C939D41-EDD4-E145-AC70-1FEA78861983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D28E0661-751E-CE4C-8BC5-F16780187439}"/>
                </a:ext>
              </a:extLst>
            </p:cNvPr>
            <p:cNvSpPr txBox="1"/>
            <p:nvPr userDrawn="1"/>
          </p:nvSpPr>
          <p:spPr>
            <a:xfrm>
              <a:off x="9555251" y="150289"/>
              <a:ext cx="164468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3408AD67-9977-5847-8456-1BA4A449DD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5251" y="35290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AC807C0-4C95-754F-9B48-24C2884EC3A8}"/>
                </a:ext>
              </a:extLst>
            </p:cNvPr>
            <p:cNvSpPr txBox="1"/>
            <p:nvPr userDrawn="1"/>
          </p:nvSpPr>
          <p:spPr>
            <a:xfrm>
              <a:off x="9683170" y="1211216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 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5633BC6-629B-B243-98D5-93A61D37DCA2}"/>
                </a:ext>
              </a:extLst>
            </p:cNvPr>
            <p:cNvGrpSpPr/>
            <p:nvPr userDrawn="1"/>
          </p:nvGrpSpPr>
          <p:grpSpPr>
            <a:xfrm>
              <a:off x="9538241" y="5191130"/>
              <a:ext cx="2735151" cy="1411315"/>
              <a:chOff x="9296567" y="4910411"/>
              <a:chExt cx="2735151" cy="1411315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9F863234-89FF-8F40-BE73-4316B3ABFA65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2C5A738D-CF1E-4B44-AC3D-BA4815CF1858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EB95FA99-3430-0149-B21D-F142420715F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2A101CD2-81BC-5247-9E37-65506544734B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DA111A3F-62A5-A341-B311-884D94AECDDC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A91A7249-E4DE-9045-B263-B2E6552B974A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E81DE022-4C71-2544-8505-1761305A250F}"/>
                </a:ext>
              </a:extLst>
            </p:cNvPr>
            <p:cNvGrpSpPr/>
            <p:nvPr userDrawn="1"/>
          </p:nvGrpSpPr>
          <p:grpSpPr>
            <a:xfrm>
              <a:off x="9538241" y="3396143"/>
              <a:ext cx="2735151" cy="1666188"/>
              <a:chOff x="9286315" y="6976989"/>
              <a:chExt cx="2735151" cy="1666188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FC6F4C93-688F-8D4E-ABCD-9BC9F8F9CBAA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66618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35D49C1A-C836-5A44-8A49-80E5A075C93A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55" name="Graphic 54">
                <a:extLst>
                  <a:ext uri="{FF2B5EF4-FFF2-40B4-BE49-F238E27FC236}">
                    <a16:creationId xmlns:a16="http://schemas.microsoft.com/office/drawing/2014/main" id="{EB93AE78-B9CD-AB40-95D3-B134C74973B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784DD63-BA1D-1542-806C-9B2E2FA95A95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E0E8A988-05AB-3248-93C8-C5006E414A5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8DD2CB9-AED7-714F-B970-5632385CD159}"/>
                  </a:ext>
                </a:extLst>
              </p:cNvPr>
              <p:cNvSpPr txBox="1"/>
              <p:nvPr userDrawn="1"/>
            </p:nvSpPr>
            <p:spPr>
              <a:xfrm>
                <a:off x="9446538" y="8244615"/>
                <a:ext cx="2467032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3175" lvl="1" indent="0">
                  <a:buNone/>
                  <a:defRPr/>
                </a:pPr>
                <a:r>
                  <a:rPr lang="en-US" sz="900" i="1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Strict rule: do not resize the image placeholder. It should always be 1/3rd of the slide width.</a:t>
                </a: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22C1CD7-2090-FC48-80A3-6DC2AF4F2810}"/>
                </a:ext>
              </a:extLst>
            </p:cNvPr>
            <p:cNvGrpSpPr/>
            <p:nvPr userDrawn="1"/>
          </p:nvGrpSpPr>
          <p:grpSpPr>
            <a:xfrm>
              <a:off x="9518577" y="475409"/>
              <a:ext cx="2617883" cy="651460"/>
              <a:chOff x="12352022" y="513115"/>
              <a:chExt cx="2617883" cy="651460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697B859F-3589-2A4F-A834-9541E03CDE8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EA4EEBF-44D6-B64D-A9A9-305B00FCA67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F609CAA-7DFC-C34E-9B3E-600CFAED5850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25247B6-FFD6-8D42-800F-51E92618BD11}"/>
                </a:ext>
              </a:extLst>
            </p:cNvPr>
            <p:cNvSpPr txBox="1"/>
            <p:nvPr userDrawn="1"/>
          </p:nvSpPr>
          <p:spPr>
            <a:xfrm>
              <a:off x="9671011" y="1494521"/>
              <a:ext cx="2374733" cy="2908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70D307F-E4DB-E049-9932-D63E2B92B691}"/>
                </a:ext>
              </a:extLst>
            </p:cNvPr>
            <p:cNvSpPr txBox="1"/>
            <p:nvPr userDrawn="1"/>
          </p:nvSpPr>
          <p:spPr>
            <a:xfrm>
              <a:off x="9683170" y="1909778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 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 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82A7166-211F-0A4C-B965-143A64AF82E4}"/>
                </a:ext>
              </a:extLst>
            </p:cNvPr>
            <p:cNvSpPr txBox="1"/>
            <p:nvPr userDrawn="1"/>
          </p:nvSpPr>
          <p:spPr>
            <a:xfrm>
              <a:off x="9683170" y="2629868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 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D07C2016-E2F3-A14A-B1C2-86F63D44D337}"/>
                </a:ext>
              </a:extLst>
            </p:cNvPr>
            <p:cNvSpPr txBox="1"/>
            <p:nvPr userDrawn="1"/>
          </p:nvSpPr>
          <p:spPr>
            <a:xfrm>
              <a:off x="9671011" y="3060431"/>
              <a:ext cx="2374733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 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2454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nking (Right)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E403CC8-0AF4-0B41-9F00-0561FB8057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184526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432000" rIns="288000" anchor="ctr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hoto.</a:t>
            </a:r>
            <a:br>
              <a:rPr lang="en-US" dirty="0"/>
            </a:br>
            <a:r>
              <a:rPr lang="en-US" dirty="0"/>
              <a:t>Strict rule: do not resize this image. (Crop if necessary.)</a:t>
            </a:r>
          </a:p>
        </p:txBody>
      </p:sp>
      <p:sp>
        <p:nvSpPr>
          <p:cNvPr id="40" name="Text Placeholder 21">
            <a:extLst>
              <a:ext uri="{FF2B5EF4-FFF2-40B4-BE49-F238E27FC236}">
                <a16:creationId xmlns:a16="http://schemas.microsoft.com/office/drawing/2014/main" id="{D976F2F4-DE2A-DC4C-A765-97FABA1D6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1652" y="6200775"/>
            <a:ext cx="2268598" cy="152349"/>
          </a:xfrm>
          <a:effectLst/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4C76DA-F528-244F-B82D-2FD6602BA875}"/>
              </a:ext>
            </a:extLst>
          </p:cNvPr>
          <p:cNvSpPr>
            <a:spLocks noGrp="1"/>
          </p:cNvSpPr>
          <p:nvPr>
            <p:ph type="dt" sz="half" idx="10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625B55-E0DA-464D-BFB5-020839E75BEF}"/>
              </a:ext>
            </a:extLst>
          </p:cNvPr>
          <p:cNvSpPr>
            <a:spLocks noGrp="1"/>
          </p:cNvSpPr>
          <p:nvPr>
            <p:ph type="ftr" sz="quarter" idx="1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D59DA1-A77E-7144-9771-F69145665B98}"/>
              </a:ext>
            </a:extLst>
          </p:cNvPr>
          <p:cNvSpPr>
            <a:spLocks noGrp="1"/>
          </p:cNvSpPr>
          <p:nvPr>
            <p:ph type="sldNum" sz="quarter" idx="111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1F08C253-A48A-3143-84F4-862490E091D5}"/>
              </a:ext>
            </a:extLst>
          </p:cNvPr>
          <p:cNvSpPr>
            <a:spLocks noGrp="1"/>
          </p:cNvSpPr>
          <p:nvPr>
            <p:ph type="pic" sz="quarter" idx="108" hasCustomPrompt="1"/>
          </p:nvPr>
        </p:nvSpPr>
        <p:spPr>
          <a:xfrm>
            <a:off x="3234413" y="1126869"/>
            <a:ext cx="5861832" cy="4395148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pre-designed </a:t>
            </a:r>
            <a:br>
              <a:rPr lang="en-US" dirty="0"/>
            </a:br>
            <a:r>
              <a:rPr lang="en-US" dirty="0"/>
              <a:t>ranking or quote graphic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1764BD5-D145-264C-B0A8-208A483730D7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399182" y="-1"/>
            <a:chExt cx="2874210" cy="6858001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E350FE8-9140-BD44-8746-BA901039FCE8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D1B288D-9366-E241-BD9C-0C163D006B50}"/>
                </a:ext>
              </a:extLst>
            </p:cNvPr>
            <p:cNvSpPr txBox="1"/>
            <p:nvPr userDrawn="1"/>
          </p:nvSpPr>
          <p:spPr>
            <a:xfrm>
              <a:off x="9555251" y="150289"/>
              <a:ext cx="164468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6B3ABA96-5F83-394D-9840-D7F0CBD05CB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5251" y="35290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EF9EA9D-2ECC-8B45-B42B-25173A4A4C25}"/>
                </a:ext>
              </a:extLst>
            </p:cNvPr>
            <p:cNvSpPr txBox="1"/>
            <p:nvPr userDrawn="1"/>
          </p:nvSpPr>
          <p:spPr>
            <a:xfrm>
              <a:off x="9683170" y="1211216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 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8972E43-5336-2241-891B-35A2BC5D2DEE}"/>
                </a:ext>
              </a:extLst>
            </p:cNvPr>
            <p:cNvGrpSpPr/>
            <p:nvPr userDrawn="1"/>
          </p:nvGrpSpPr>
          <p:grpSpPr>
            <a:xfrm>
              <a:off x="9538241" y="5191130"/>
              <a:ext cx="2735151" cy="1411315"/>
              <a:chOff x="9296567" y="4910411"/>
              <a:chExt cx="2735151" cy="1411315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E2C26990-7FF8-054E-A281-B53F537BEE27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B995B5E-F502-524D-8B58-27186D7A107B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50" name="Graphic 49">
                <a:extLst>
                  <a:ext uri="{FF2B5EF4-FFF2-40B4-BE49-F238E27FC236}">
                    <a16:creationId xmlns:a16="http://schemas.microsoft.com/office/drawing/2014/main" id="{A061601C-8C68-F242-B113-EE7F7709496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176A971-B2F1-5E43-B3E1-7B135F870F05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90EC215C-94D0-E34B-A0ED-1A1FAA96773F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76B9D522-8908-7049-B7A4-B57C5618ADD3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AA4B5C55-C3B7-894B-A35E-D5CA95E6E7F1}"/>
                </a:ext>
              </a:extLst>
            </p:cNvPr>
            <p:cNvGrpSpPr/>
            <p:nvPr userDrawn="1"/>
          </p:nvGrpSpPr>
          <p:grpSpPr>
            <a:xfrm>
              <a:off x="9538241" y="3396143"/>
              <a:ext cx="2735151" cy="1666188"/>
              <a:chOff x="9286315" y="6976989"/>
              <a:chExt cx="2735151" cy="1666188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0F3B6FDA-7E11-594D-AA59-432E8381D202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66618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B533522C-4577-8A45-84ED-1C28ADF906A5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57" name="Graphic 56">
                <a:extLst>
                  <a:ext uri="{FF2B5EF4-FFF2-40B4-BE49-F238E27FC236}">
                    <a16:creationId xmlns:a16="http://schemas.microsoft.com/office/drawing/2014/main" id="{CAA725A2-71E0-CC44-BF0B-C7D949C4E17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877D7503-2CC1-D345-B445-E51D2E0A1D5E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168D46CD-D101-064B-A62A-09B9595E705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5412DB5D-1726-FE4B-A4FC-19F1AAD0388A}"/>
                  </a:ext>
                </a:extLst>
              </p:cNvPr>
              <p:cNvSpPr txBox="1"/>
              <p:nvPr userDrawn="1"/>
            </p:nvSpPr>
            <p:spPr>
              <a:xfrm>
                <a:off x="9446538" y="8244615"/>
                <a:ext cx="2467032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3175" lvl="1" indent="0">
                  <a:buNone/>
                  <a:defRPr/>
                </a:pPr>
                <a:r>
                  <a:rPr lang="en-US" sz="900" i="1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Strict rule: do not resize the image placeholder. It should always be 1/3rd of the slide width.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DEDB481-299F-A241-8351-91656708A78B}"/>
                </a:ext>
              </a:extLst>
            </p:cNvPr>
            <p:cNvGrpSpPr/>
            <p:nvPr userDrawn="1"/>
          </p:nvGrpSpPr>
          <p:grpSpPr>
            <a:xfrm>
              <a:off x="9518577" y="475409"/>
              <a:ext cx="2617883" cy="651460"/>
              <a:chOff x="12352022" y="513115"/>
              <a:chExt cx="2617883" cy="651460"/>
            </a:xfrm>
          </p:grpSpPr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AB4D90F5-A24B-2141-B2C9-24D7F207050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81F83443-307B-1E45-9461-3D7B0B74AC6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9D96AAF3-257A-024D-8BEB-1EF46B227EF1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</p:grp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3EAD2FB7-5D7E-3B4E-9279-C776EEE44836}"/>
                </a:ext>
              </a:extLst>
            </p:cNvPr>
            <p:cNvSpPr txBox="1"/>
            <p:nvPr userDrawn="1"/>
          </p:nvSpPr>
          <p:spPr>
            <a:xfrm>
              <a:off x="9671011" y="1494521"/>
              <a:ext cx="2374733" cy="2908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EE34DDB8-5373-A745-B56A-FBF923B54BF3}"/>
                </a:ext>
              </a:extLst>
            </p:cNvPr>
            <p:cNvSpPr txBox="1"/>
            <p:nvPr userDrawn="1"/>
          </p:nvSpPr>
          <p:spPr>
            <a:xfrm>
              <a:off x="9683170" y="1909778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 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 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B22E602-F5E8-F549-B709-653F5ED78E9A}"/>
                </a:ext>
              </a:extLst>
            </p:cNvPr>
            <p:cNvSpPr txBox="1"/>
            <p:nvPr userDrawn="1"/>
          </p:nvSpPr>
          <p:spPr>
            <a:xfrm>
              <a:off x="9683170" y="2629868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 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1EAB1B9-8082-D946-8E99-B3E0046C15E3}"/>
                </a:ext>
              </a:extLst>
            </p:cNvPr>
            <p:cNvSpPr txBox="1"/>
            <p:nvPr userDrawn="1"/>
          </p:nvSpPr>
          <p:spPr>
            <a:xfrm>
              <a:off x="9671011" y="3060431"/>
              <a:ext cx="2374733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 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71980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B61EC68-0522-AF4D-8694-0D0881A7666F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pre-designed graphic</a:t>
            </a:r>
            <a:br>
              <a:rPr lang="en-US" dirty="0"/>
            </a:br>
            <a:r>
              <a:rPr lang="en-US" dirty="0"/>
              <a:t>(e.g. ranking, quote, or map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5405C3-B529-8445-891B-5DC49F4AC2A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689135C-1344-F94E-8F1C-BE454F6FBFB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B0DF10-D944-7E44-8C33-475A3A1A8A9D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C4CCAAA-DF95-7842-8BC9-3F8AB6B46ED7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7E60850-6391-3041-B4D0-C92867F3DEB4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>
          <a:noFill/>
        </p:spPr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7D02F64-F08E-0F4E-B529-5BC62DBE3DF1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502E77A-94C0-9946-8D2F-BE9E8B1B62E9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27EA42E-6AC0-B547-9370-A426FC3DA920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318F7B6C-E16E-7A45-B2AD-D99A7D30D7AC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AA79330A-89D2-B64E-BB5A-3873682503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9688A793-3D82-5747-92B2-2E732EDCE5AE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B6DBEC5E-BD0E-9241-A3E4-2F56C03C1A05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FFA48DED-F3DA-EC47-97E5-E6739BF46422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82CFB4CC-B76D-A94D-AB78-1A7F4E4CE9E0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73" name="Graphic 72">
                  <a:extLst>
                    <a:ext uri="{FF2B5EF4-FFF2-40B4-BE49-F238E27FC236}">
                      <a16:creationId xmlns:a16="http://schemas.microsoft.com/office/drawing/2014/main" id="{786BEA28-9B2D-2C46-85BC-0D2CF1D6365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71831B6F-88D4-2D4F-9998-C1B41572775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EFBA3B08-C039-6D48-BC25-182C2C66DF3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5FCB126F-01A3-9A47-AD52-F8C4B63FEC2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6136081A-ADDF-5648-821B-4397ABC813A2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66" name="Rectangle 65">
                  <a:extLst>
                    <a:ext uri="{FF2B5EF4-FFF2-40B4-BE49-F238E27FC236}">
                      <a16:creationId xmlns:a16="http://schemas.microsoft.com/office/drawing/2014/main" id="{A1A968B8-5BC5-284F-898B-B6637A41DEF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51A95283-5490-1742-84A3-68783BE54308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8" name="Graphic 67">
                  <a:extLst>
                    <a:ext uri="{FF2B5EF4-FFF2-40B4-BE49-F238E27FC236}">
                      <a16:creationId xmlns:a16="http://schemas.microsoft.com/office/drawing/2014/main" id="{986C6630-8E1B-6642-9DBA-0BE12B3DE85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F073B232-F982-1B48-B310-DCE7A95E03B2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70" name="Picture 69">
                  <a:extLst>
                    <a:ext uri="{FF2B5EF4-FFF2-40B4-BE49-F238E27FC236}">
                      <a16:creationId xmlns:a16="http://schemas.microsoft.com/office/drawing/2014/main" id="{808FFCB2-7DF3-CA48-B29E-9FEAAB8F2B7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07236D2B-D298-EB49-8ABB-E7D7376416F2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A2A47C15-08E4-7049-935A-EDE4F9DCF82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FC6539D2-0500-124D-81F7-76B67EA9079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F1F80A10-B10E-A846-8794-521C2A75678D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70F57E5-FA5E-C04D-ABAC-987519A35248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54C63403-02A3-EB42-BBF7-B19D923AF7CB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73B0C4AD-7511-3A44-A092-8D4C4CCE19ED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9689DDA7-3FF5-0447-8D1D-746B7CEB0585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02490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ic (Dark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B61EC68-0522-AF4D-8694-0D0881A7666F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a pre-designed graphic</a:t>
            </a:r>
            <a:br>
              <a:rPr lang="en-US" dirty="0"/>
            </a:br>
            <a:r>
              <a:rPr lang="en-US" dirty="0"/>
              <a:t>(e.g. ranking, quote, or map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D5405C3-B529-8445-891B-5DC49F4AC2A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689135C-1344-F94E-8F1C-BE454F6FBFBE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bg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bg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bg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bg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bg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bg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bg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bg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0A60567-C6A8-9745-A7BD-650F05617F55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48C1A1C-69E6-2E4B-B77D-A4ECA59B3F9E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8B4174A-1940-A14D-BE35-2361AF2DB700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154AD6F-FF5C-AF46-AF46-3A2F76383F84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473109F-0CBB-3543-B531-C9EE5039E8F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4255D80-C41E-D843-BA4B-49C358DE9F33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E66BE7A5-B95E-5647-BB64-B391E7B70B4C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3E456B4A-35E2-1E46-AF5B-69BC4A031DFD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5020C91E-8ECD-9446-9FD6-8317FDCC66B1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47" name="Graphic 46">
                  <a:extLst>
                    <a:ext uri="{FF2B5EF4-FFF2-40B4-BE49-F238E27FC236}">
                      <a16:creationId xmlns:a16="http://schemas.microsoft.com/office/drawing/2014/main" id="{F8B2E612-99F0-C842-8E04-621A4A3B40E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FFF1E73D-444F-B546-A7C4-57D3717E9A5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EA65B9F0-297D-D74A-AED0-C2DF6E16365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FF9CCBAC-EFF1-D64D-BAA2-00D33EB2E99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599AA6FE-1950-8F41-9D7B-376A540F81F8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96798E0F-BB64-0746-87AC-50312AED96E1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F9048FEE-4AC5-F346-8AA9-B96470C93BB9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40" name="Graphic 39">
                  <a:extLst>
                    <a:ext uri="{FF2B5EF4-FFF2-40B4-BE49-F238E27FC236}">
                      <a16:creationId xmlns:a16="http://schemas.microsoft.com/office/drawing/2014/main" id="{DDFDEDFA-065B-6446-8C5E-888321D0CE4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7DC42090-9A4E-1948-920E-D0251217ED83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42" name="Picture 41">
                  <a:extLst>
                    <a:ext uri="{FF2B5EF4-FFF2-40B4-BE49-F238E27FC236}">
                      <a16:creationId xmlns:a16="http://schemas.microsoft.com/office/drawing/2014/main" id="{49506D48-EE49-E344-BD58-0E7ACE18BEA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8289D14B-260D-364C-8834-60C0FB3F053F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6530850F-5903-4241-B33B-7472896369B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B9AE25B5-349B-5C47-9854-CC58C3DFD0E6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FBC27616-0537-A643-80CA-4C159C63CC02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02138E1E-A77D-E446-B51D-5B1FD135B9BF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620C17C2-E7A1-8A48-AD81-3A9EAACA602D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CE72D9E-F64A-6C45-B5E4-5509FBC7C3DA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F7CB64C4-3F1A-F84B-B69A-13F4593C12B6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6897C2-6DB8-D84B-835C-E23BE83E1A08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967810F-AD16-6E49-B2A3-1DA6D8B1281F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E7FAC5D-4E0E-F541-A5F0-7B548D5C6943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0900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icture Placeholder 10">
            <a:extLst>
              <a:ext uri="{FF2B5EF4-FFF2-40B4-BE49-F238E27FC236}">
                <a16:creationId xmlns:a16="http://schemas.microsoft.com/office/drawing/2014/main" id="{AE10EEE1-52DC-3B49-A4AE-DCC0B52D1E6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lIns="792000" tIns="0" rIns="5256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he icon at the center of the slide to add a pre-designed half-page map graphic to the slide.</a:t>
            </a:r>
            <a:br>
              <a:rPr lang="en-US" dirty="0"/>
            </a:br>
            <a:r>
              <a:rPr lang="en-US" dirty="0"/>
              <a:t>(In the Marketing Resource Database, these files will have “half slide” in the files name)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6" name="Chart Placeholder 2">
            <a:extLst>
              <a:ext uri="{FF2B5EF4-FFF2-40B4-BE49-F238E27FC236}">
                <a16:creationId xmlns:a16="http://schemas.microsoft.com/office/drawing/2014/main" id="{078808F4-3217-FA41-8ABF-24B9D247AE5A}"/>
              </a:ext>
            </a:extLst>
          </p:cNvPr>
          <p:cNvSpPr>
            <a:spLocks noGrp="1"/>
          </p:cNvSpPr>
          <p:nvPr userDrawn="1">
            <p:ph type="chart" sz="quarter" idx="114"/>
          </p:nvPr>
        </p:nvSpPr>
        <p:spPr>
          <a:xfrm>
            <a:off x="4698906" y="1735138"/>
            <a:ext cx="4008438" cy="4430712"/>
          </a:xfrm>
        </p:spPr>
        <p:txBody>
          <a:bodyPr/>
          <a:lstStyle>
            <a:lvl1pPr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89C8ABCA-426C-9447-AA12-B5A756649D54}"/>
              </a:ext>
            </a:extLst>
          </p:cNvPr>
          <p:cNvSpPr>
            <a:spLocks noGrp="1"/>
          </p:cNvSpPr>
          <p:nvPr userDrawn="1"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1834941-C348-A040-9D09-770ED5F00B5B}"/>
              </a:ext>
            </a:extLst>
          </p:cNvPr>
          <p:cNvGrpSpPr/>
          <p:nvPr userDrawn="1"/>
        </p:nvGrpSpPr>
        <p:grpSpPr>
          <a:xfrm>
            <a:off x="9399182" y="-1"/>
            <a:ext cx="2961715" cy="13179981"/>
            <a:chOff x="9399182" y="-1"/>
            <a:chExt cx="2961715" cy="13179981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F39C21F-C07C-7740-9183-FE0C02C54D48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1299298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8D2E816D-1321-604A-8779-D37820720E7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36104"/>
            <a:stretch/>
          </p:blipFill>
          <p:spPr>
            <a:xfrm>
              <a:off x="9558497" y="1330741"/>
              <a:ext cx="2639329" cy="522522"/>
            </a:xfrm>
            <a:prstGeom prst="rect">
              <a:avLst/>
            </a:prstGeom>
          </p:spPr>
        </p:pic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C545234B-6DF7-7643-92C8-BA7AC4A8A953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2F039784-C448-5543-B741-6EBF9C27FE1C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F60BC00D-BAE8-1C44-A7A3-F83307EFAE07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4BF9F541-6966-324D-8295-8DC4C6ED816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876CC36D-CD32-7F49-83AC-D8C75EEEEBC3}"/>
                </a:ext>
              </a:extLst>
            </p:cNvPr>
            <p:cNvGrpSpPr/>
            <p:nvPr userDrawn="1"/>
          </p:nvGrpSpPr>
          <p:grpSpPr>
            <a:xfrm>
              <a:off x="9521833" y="5949873"/>
              <a:ext cx="2676002" cy="1052731"/>
              <a:chOff x="9521833" y="2036288"/>
              <a:chExt cx="2676002" cy="1052731"/>
            </a:xfrm>
          </p:grpSpPr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0C54F8FD-6A48-EF40-AD43-A10ACF4D7CF9}"/>
                  </a:ext>
                </a:extLst>
              </p:cNvPr>
              <p:cNvSpPr txBox="1"/>
              <p:nvPr userDrawn="1"/>
            </p:nvSpPr>
            <p:spPr>
              <a:xfrm>
                <a:off x="9558507" y="2036288"/>
                <a:ext cx="13288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ADD A NEW CHART</a:t>
                </a:r>
              </a:p>
            </p:txBody>
          </p: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4CF1923C-FF57-604A-A528-0F8B428DC1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23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BA303ED0-59A7-B84C-A014-7496C5477C51}"/>
                  </a:ext>
                </a:extLst>
              </p:cNvPr>
              <p:cNvGrpSpPr/>
              <p:nvPr userDrawn="1"/>
            </p:nvGrpSpPr>
            <p:grpSpPr>
              <a:xfrm>
                <a:off x="9521833" y="2361408"/>
                <a:ext cx="2557391" cy="484748"/>
                <a:chOff x="12352022" y="513115"/>
                <a:chExt cx="2557391" cy="484748"/>
              </a:xfrm>
            </p:grpSpPr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34680833-A017-FE4C-B658-3EDDEB9B2F3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E4EC3B22-EC11-D84D-90B3-DC3B7E1CA6D3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392798" cy="48474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Open the </a:t>
                  </a:r>
                  <a:r>
                    <a:rPr lang="en-US" b="1" dirty="0"/>
                    <a:t>VEDP Template Assets file </a:t>
                  </a:r>
                  <a:r>
                    <a:rPr lang="en-US" dirty="0"/>
                    <a:t>and copy the desired chart type into your presentation.</a:t>
                  </a:r>
                </a:p>
              </p:txBody>
            </p:sp>
          </p:grp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862A8FB6-C487-2D48-A9DC-F3D0905D6BE5}"/>
                  </a:ext>
                </a:extLst>
              </p:cNvPr>
              <p:cNvSpPr txBox="1"/>
              <p:nvPr userDrawn="1"/>
            </p:nvSpPr>
            <p:spPr>
              <a:xfrm>
                <a:off x="9686426" y="2895120"/>
                <a:ext cx="2120429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These samples slide have further instructions and have been set up so you can easily edit the data.</a:t>
                </a: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203EC2FF-8F5A-2547-A699-BE8FF88F9301}"/>
                </a:ext>
              </a:extLst>
            </p:cNvPr>
            <p:cNvSpPr txBox="1"/>
            <p:nvPr userDrawn="1"/>
          </p:nvSpPr>
          <p:spPr>
            <a:xfrm>
              <a:off x="9558507" y="2034287"/>
              <a:ext cx="2056653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FORMAT AN EXISTING CHART</a:t>
              </a: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59E92957-8BDF-4347-81B2-9604E93AE6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23690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36CA8A72-2DBC-5545-BC2E-B4BDCAC3FDF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38443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1C1C471-3C86-9243-8147-752CF2CED878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11148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594015A7-4E0F-FB48-B54B-DBDAD2AACFBF}"/>
                </a:ext>
              </a:extLst>
            </p:cNvPr>
            <p:cNvSpPr txBox="1"/>
            <p:nvPr userDrawn="1"/>
          </p:nvSpPr>
          <p:spPr>
            <a:xfrm>
              <a:off x="9686426" y="2359407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Select the chart placeholder and then paste your existing chart.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55791D51-A4E3-254B-9CDC-883656B5BBB3}"/>
                </a:ext>
              </a:extLst>
            </p:cNvPr>
            <p:cNvSpPr txBox="1"/>
            <p:nvPr userDrawn="1"/>
          </p:nvSpPr>
          <p:spPr>
            <a:xfrm>
              <a:off x="9686426" y="3088613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Right-click on the chart and choose “Change Chart Type…”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098081F0-15A2-CE4F-B597-7D0A57F05E29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3574474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41684A96-AE24-5949-8098-95299F59040E}"/>
                </a:ext>
              </a:extLst>
            </p:cNvPr>
            <p:cNvSpPr txBox="1"/>
            <p:nvPr userDrawn="1"/>
          </p:nvSpPr>
          <p:spPr>
            <a:xfrm>
              <a:off x="9686426" y="3551603"/>
              <a:ext cx="2453290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hoose one of the VEDP chart styles from the ‘Templates’ category.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95F9DFB-59B1-0849-A7FD-D719AC7DE165}"/>
                </a:ext>
              </a:extLst>
            </p:cNvPr>
            <p:cNvSpPr txBox="1"/>
            <p:nvPr userDrawn="1"/>
          </p:nvSpPr>
          <p:spPr>
            <a:xfrm>
              <a:off x="9674268" y="2722629"/>
              <a:ext cx="2297650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Make sure that you have access to any linked files, or you won’t be able to apply the chart style successfully.</a:t>
              </a: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0B9FBE4B-500D-DC43-91EC-3123D9EF5462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3B2F129A-3FD3-E24F-92D4-3E5C29B9DBB8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1476F00B-34CF-9B4A-8F55-B463B3FDB7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8D1C5EC9-E2AC-8041-9FC6-7AD7ADED145B}"/>
                </a:ext>
              </a:extLst>
            </p:cNvPr>
            <p:cNvGrpSpPr/>
            <p:nvPr userDrawn="1"/>
          </p:nvGrpSpPr>
          <p:grpSpPr>
            <a:xfrm>
              <a:off x="9541497" y="4046192"/>
              <a:ext cx="2735151" cy="1741977"/>
              <a:chOff x="9296567" y="4910411"/>
              <a:chExt cx="2735151" cy="1741977"/>
            </a:xfrm>
          </p:grpSpPr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836A575A-4268-7545-9724-E5529E81C3A7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741977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263A6D68-9AA3-584A-809D-EE6673D3B056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Re-apply chart style</a:t>
                </a:r>
              </a:p>
            </p:txBody>
          </p:sp>
          <p:pic>
            <p:nvPicPr>
              <p:cNvPr id="97" name="Graphic 96">
                <a:extLst>
                  <a:ext uri="{FF2B5EF4-FFF2-40B4-BE49-F238E27FC236}">
                    <a16:creationId xmlns:a16="http://schemas.microsoft.com/office/drawing/2014/main" id="{4AF9B51D-9E9A-F947-8F70-A6C06771D1F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48800C5A-9825-D044-8419-0A6095892041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399065" cy="965392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spcBef>
                    <a:spcPts val="200"/>
                  </a:spcBef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49225" lvl="1" indent="-149225">
                  <a:spcBef>
                    <a:spcPts val="200"/>
                  </a:spcBef>
                  <a:spcAft>
                    <a:spcPts val="0"/>
                  </a:spcAft>
                  <a:defRPr sz="9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</a:lstStyle>
              <a:p>
                <a:r>
                  <a:rPr lang="en-US" dirty="0"/>
                  <a:t>In case of error, return legend entries, data labels, and/or chart formatting by re-applying the current VEDP chart style template.</a:t>
                </a:r>
              </a:p>
              <a:p>
                <a:pPr lvl="1"/>
                <a:r>
                  <a:rPr lang="en-US" dirty="0"/>
                  <a:t>Right-click the chart and choose</a:t>
                </a:r>
                <a:br>
                  <a:rPr lang="en-US" dirty="0"/>
                </a:br>
                <a:r>
                  <a:rPr lang="en-US" dirty="0"/>
                  <a:t>“Change Chart Type”</a:t>
                </a:r>
              </a:p>
              <a:p>
                <a:pPr lvl="1"/>
                <a:r>
                  <a:rPr lang="en-US" dirty="0"/>
                  <a:t>Then choose the matching VEDP chart style from the ‘Templates’ category.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4CF5DAB-1553-C04B-92A4-F1198F8EECE3}"/>
                </a:ext>
              </a:extLst>
            </p:cNvPr>
            <p:cNvGrpSpPr/>
            <p:nvPr userDrawn="1"/>
          </p:nvGrpSpPr>
          <p:grpSpPr>
            <a:xfrm>
              <a:off x="9521833" y="7166155"/>
              <a:ext cx="2754815" cy="6013825"/>
              <a:chOff x="9521833" y="-6801152"/>
              <a:chExt cx="2754815" cy="6013825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07BD5352-94B5-1940-89E6-DC02A72A4418}"/>
                  </a:ext>
                </a:extLst>
              </p:cNvPr>
              <p:cNvSpPr txBox="1"/>
              <p:nvPr userDrawn="1"/>
            </p:nvSpPr>
            <p:spPr>
              <a:xfrm>
                <a:off x="9558507" y="-6801152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E135D9E-6B8E-BF4A-8B52-EEAE03AC9D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-659853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C3F42BF-41FD-244D-86C9-0031DA675594}"/>
                  </a:ext>
                </a:extLst>
              </p:cNvPr>
              <p:cNvSpPr txBox="1"/>
              <p:nvPr userDrawn="1"/>
            </p:nvSpPr>
            <p:spPr>
              <a:xfrm>
                <a:off x="9686426" y="-574022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1AF14A82-884D-6E44-833A-66AEAE8D73E5}"/>
                  </a:ext>
                </a:extLst>
              </p:cNvPr>
              <p:cNvGrpSpPr/>
              <p:nvPr userDrawn="1"/>
            </p:nvGrpSpPr>
            <p:grpSpPr>
              <a:xfrm>
                <a:off x="9541497" y="-2198642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F7A9386A-4C7E-3A41-8497-284AAB05A9F1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233D935-4B30-F44F-9AE5-ED48766ABB37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69" name="Graphic 68">
                  <a:extLst>
                    <a:ext uri="{FF2B5EF4-FFF2-40B4-BE49-F238E27FC236}">
                      <a16:creationId xmlns:a16="http://schemas.microsoft.com/office/drawing/2014/main" id="{16F18F42-237E-5D49-9406-C82AB8706B5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DE14BA7F-29C8-C24E-928B-592788C3333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29C49CB8-3278-3D41-8689-3FE7FAAE598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22BE9216-4058-A445-B627-693F5A96240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14F294D6-B313-E949-842F-F41379956161}"/>
                  </a:ext>
                </a:extLst>
              </p:cNvPr>
              <p:cNvGrpSpPr/>
              <p:nvPr userDrawn="1"/>
            </p:nvGrpSpPr>
            <p:grpSpPr>
              <a:xfrm>
                <a:off x="9541497" y="-3555298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14F654D1-DB8F-CE4F-A23A-52B9BC2BFFEA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1DC4A4C9-98A4-154F-8F68-6545453B1513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2" name="Graphic 61">
                  <a:extLst>
                    <a:ext uri="{FF2B5EF4-FFF2-40B4-BE49-F238E27FC236}">
                      <a16:creationId xmlns:a16="http://schemas.microsoft.com/office/drawing/2014/main" id="{09C862AD-FB96-864E-8468-306B3BB1F66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F14F4FFA-0615-1D48-B3DF-3595FF4FE063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64" name="Picture 63">
                  <a:extLst>
                    <a:ext uri="{FF2B5EF4-FFF2-40B4-BE49-F238E27FC236}">
                      <a16:creationId xmlns:a16="http://schemas.microsoft.com/office/drawing/2014/main" id="{88F30D86-450E-F848-A211-E408470B957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7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02D72FD7-6279-0446-AC58-A3C3DC24D160}"/>
                  </a:ext>
                </a:extLst>
              </p:cNvPr>
              <p:cNvGrpSpPr/>
              <p:nvPr userDrawn="1"/>
            </p:nvGrpSpPr>
            <p:grpSpPr>
              <a:xfrm>
                <a:off x="9521833" y="-6476032"/>
                <a:ext cx="2617883" cy="651460"/>
                <a:chOff x="12352022" y="513115"/>
                <a:chExt cx="2617883" cy="651460"/>
              </a:xfrm>
            </p:grpSpPr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F61D0EBF-B2C0-7046-B77D-2B9CD522884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80E248F4-5967-3B48-BA75-443830FB430F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4458B103-16C3-734D-9D4C-08A0AD40A3F8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9F6763D5-C877-A84E-AA38-3CED305D0841}"/>
                  </a:ext>
                </a:extLst>
              </p:cNvPr>
              <p:cNvSpPr txBox="1"/>
              <p:nvPr userDrawn="1"/>
            </p:nvSpPr>
            <p:spPr>
              <a:xfrm>
                <a:off x="9674267" y="-54569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FB47FC7-5B8F-1A47-817A-A3CF2131BD9D}"/>
                  </a:ext>
                </a:extLst>
              </p:cNvPr>
              <p:cNvSpPr txBox="1"/>
              <p:nvPr userDrawn="1"/>
            </p:nvSpPr>
            <p:spPr>
              <a:xfrm>
                <a:off x="9686426" y="-5041663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CD80403-C6E9-C346-A05A-8AE1F1F93179}"/>
                  </a:ext>
                </a:extLst>
              </p:cNvPr>
              <p:cNvSpPr txBox="1"/>
              <p:nvPr userDrawn="1"/>
            </p:nvSpPr>
            <p:spPr>
              <a:xfrm>
                <a:off x="9686426" y="-4321573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6AB870E0-EE0A-D84C-A2C8-84EDC9B761D9}"/>
                  </a:ext>
                </a:extLst>
              </p:cNvPr>
              <p:cNvSpPr txBox="1"/>
              <p:nvPr userDrawn="1"/>
            </p:nvSpPr>
            <p:spPr>
              <a:xfrm>
                <a:off x="9674267" y="-389101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  <p:sp>
        <p:nvSpPr>
          <p:cNvPr id="78" name="Text Placeholder 6">
            <a:extLst>
              <a:ext uri="{FF2B5EF4-FFF2-40B4-BE49-F238E27FC236}">
                <a16:creationId xmlns:a16="http://schemas.microsoft.com/office/drawing/2014/main" id="{49D0B9C5-5521-2646-B128-094867E34EA6}"/>
              </a:ext>
            </a:extLst>
          </p:cNvPr>
          <p:cNvSpPr>
            <a:spLocks noGrp="1"/>
          </p:cNvSpPr>
          <p:nvPr userDrawn="1">
            <p:ph type="body" sz="quarter" idx="108" hasCustomPrompt="1"/>
          </p:nvPr>
        </p:nvSpPr>
        <p:spPr>
          <a:xfrm>
            <a:off x="4698906" y="1211494"/>
            <a:ext cx="1655903" cy="399750"/>
          </a:xfrm>
          <a:blipFill dpi="0" rotWithShape="1">
            <a:blip r:embed="rId8"/>
            <a:srcRect/>
            <a:tile tx="0" ty="0" sx="100000" sy="100000" flip="xy" algn="b"/>
          </a:blipFill>
          <a:effectLst/>
        </p:spPr>
        <p:txBody>
          <a:bodyPr wrap="none" bIns="54000" anchor="b">
            <a:spAutoFit/>
          </a:bodyPr>
          <a:lstStyle>
            <a:lvl1pPr marL="3175" indent="0">
              <a:spcBef>
                <a:spcPts val="100"/>
              </a:spcBef>
              <a:spcAft>
                <a:spcPts val="0"/>
              </a:spcAft>
              <a:tabLst/>
              <a:defRPr sz="1200">
                <a:solidFill>
                  <a:schemeClr val="tx1"/>
                </a:solidFill>
              </a:defRPr>
            </a:lvl1pPr>
            <a:lvl2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2pPr>
            <a:lvl3pPr marL="3175" indent="0">
              <a:buNone/>
              <a:tabLst/>
              <a:defRPr sz="1200">
                <a:solidFill>
                  <a:schemeClr val="tx1"/>
                </a:solidFill>
              </a:defRPr>
            </a:lvl3pPr>
            <a:lvl4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4pPr>
            <a:lvl5pPr marL="3175" indent="0">
              <a:spcAft>
                <a:spcPts val="0"/>
              </a:spcAft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5pPr>
            <a:lvl6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6pPr>
            <a:lvl7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7pPr>
            <a:lvl8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8pPr>
            <a:lvl9pPr marL="3175" indent="0">
              <a:spcAft>
                <a:spcPts val="0"/>
              </a:spcAft>
              <a:buNone/>
              <a:tabLst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chart titl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24FA82-5551-674F-8ABF-17E6898F90B7}"/>
              </a:ext>
            </a:extLst>
          </p:cNvPr>
          <p:cNvSpPr>
            <a:spLocks noGrp="1"/>
          </p:cNvSpPr>
          <p:nvPr userDrawn="1">
            <p:ph type="dt" sz="half" idx="1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857F84-3938-184A-B69E-D20F1F0ED888}"/>
              </a:ext>
            </a:extLst>
          </p:cNvPr>
          <p:cNvSpPr>
            <a:spLocks noGrp="1"/>
          </p:cNvSpPr>
          <p:nvPr userDrawn="1">
            <p:ph type="ftr" sz="quarter" idx="1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145EE2-42E0-FD4B-84FE-BBCF42195267}"/>
              </a:ext>
            </a:extLst>
          </p:cNvPr>
          <p:cNvSpPr>
            <a:spLocks noGrp="1"/>
          </p:cNvSpPr>
          <p:nvPr userDrawn="1">
            <p:ph type="sldNum" sz="quarter" idx="11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5143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Picture Placeholder 10">
            <a:extLst>
              <a:ext uri="{FF2B5EF4-FFF2-40B4-BE49-F238E27FC236}">
                <a16:creationId xmlns:a16="http://schemas.microsoft.com/office/drawing/2014/main" id="{DDE5C622-747E-4E4C-BBC5-19A839D9F40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custGeom>
            <a:avLst/>
            <a:gdLst>
              <a:gd name="connsiteX0" fmla="*/ 8545321 w 9144000"/>
              <a:gd name="connsiteY0" fmla="*/ 6577275 h 6858000"/>
              <a:gd name="connsiteX1" fmla="*/ 8554631 w 9144000"/>
              <a:gd name="connsiteY1" fmla="*/ 6577275 h 6858000"/>
              <a:gd name="connsiteX2" fmla="*/ 8572756 w 9144000"/>
              <a:gd name="connsiteY2" fmla="*/ 6592564 h 6858000"/>
              <a:gd name="connsiteX3" fmla="*/ 8552841 w 9144000"/>
              <a:gd name="connsiteY3" fmla="*/ 6608587 h 6858000"/>
              <a:gd name="connsiteX4" fmla="*/ 8552841 w 9144000"/>
              <a:gd name="connsiteY4" fmla="*/ 6608474 h 6858000"/>
              <a:gd name="connsiteX5" fmla="*/ 8545321 w 9144000"/>
              <a:gd name="connsiteY5" fmla="*/ 6608474 h 6858000"/>
              <a:gd name="connsiteX6" fmla="*/ 8440532 w 9144000"/>
              <a:gd name="connsiteY6" fmla="*/ 6576165 h 6858000"/>
              <a:gd name="connsiteX7" fmla="*/ 8450870 w 9144000"/>
              <a:gd name="connsiteY7" fmla="*/ 6576165 h 6858000"/>
              <a:gd name="connsiteX8" fmla="*/ 8486566 w 9144000"/>
              <a:gd name="connsiteY8" fmla="*/ 6607214 h 6858000"/>
              <a:gd name="connsiteX9" fmla="*/ 8452487 w 9144000"/>
              <a:gd name="connsiteY9" fmla="*/ 6640295 h 6858000"/>
              <a:gd name="connsiteX10" fmla="*/ 8440532 w 9144000"/>
              <a:gd name="connsiteY10" fmla="*/ 6640295 h 6858000"/>
              <a:gd name="connsiteX11" fmla="*/ 8359313 w 9144000"/>
              <a:gd name="connsiteY11" fmla="*/ 6554745 h 6858000"/>
              <a:gd name="connsiteX12" fmla="*/ 8357847 w 9144000"/>
              <a:gd name="connsiteY12" fmla="*/ 6557848 h 6858000"/>
              <a:gd name="connsiteX13" fmla="*/ 8338066 w 9144000"/>
              <a:gd name="connsiteY13" fmla="*/ 6599654 h 6858000"/>
              <a:gd name="connsiteX14" fmla="*/ 8338066 w 9144000"/>
              <a:gd name="connsiteY14" fmla="*/ 6661565 h 6858000"/>
              <a:gd name="connsiteX15" fmla="*/ 8406529 w 9144000"/>
              <a:gd name="connsiteY15" fmla="*/ 6661565 h 6858000"/>
              <a:gd name="connsiteX16" fmla="*/ 8406529 w 9144000"/>
              <a:gd name="connsiteY16" fmla="*/ 6638978 h 6858000"/>
              <a:gd name="connsiteX17" fmla="*/ 8363159 w 9144000"/>
              <a:gd name="connsiteY17" fmla="*/ 6638978 h 6858000"/>
              <a:gd name="connsiteX18" fmla="*/ 8363159 w 9144000"/>
              <a:gd name="connsiteY18" fmla="*/ 6618141 h 6858000"/>
              <a:gd name="connsiteX19" fmla="*/ 8402683 w 9144000"/>
              <a:gd name="connsiteY19" fmla="*/ 6618141 h 6858000"/>
              <a:gd name="connsiteX20" fmla="*/ 8402683 w 9144000"/>
              <a:gd name="connsiteY20" fmla="*/ 6596570 h 6858000"/>
              <a:gd name="connsiteX21" fmla="*/ 8363159 w 9144000"/>
              <a:gd name="connsiteY21" fmla="*/ 6596570 h 6858000"/>
              <a:gd name="connsiteX22" fmla="*/ 8363159 w 9144000"/>
              <a:gd name="connsiteY22" fmla="*/ 6577482 h 6858000"/>
              <a:gd name="connsiteX23" fmla="*/ 8406529 w 9144000"/>
              <a:gd name="connsiteY23" fmla="*/ 6577482 h 6858000"/>
              <a:gd name="connsiteX24" fmla="*/ 8406529 w 9144000"/>
              <a:gd name="connsiteY24" fmla="*/ 6554745 h 6858000"/>
              <a:gd name="connsiteX25" fmla="*/ 8245576 w 9144000"/>
              <a:gd name="connsiteY25" fmla="*/ 6554726 h 6858000"/>
              <a:gd name="connsiteX26" fmla="*/ 8262083 w 9144000"/>
              <a:gd name="connsiteY26" fmla="*/ 6589123 h 6858000"/>
              <a:gd name="connsiteX27" fmla="*/ 8288527 w 9144000"/>
              <a:gd name="connsiteY27" fmla="*/ 6589123 h 6858000"/>
              <a:gd name="connsiteX28" fmla="*/ 8273963 w 9144000"/>
              <a:gd name="connsiteY28" fmla="*/ 6554726 h 6858000"/>
              <a:gd name="connsiteX29" fmla="*/ 8520246 w 9144000"/>
              <a:gd name="connsiteY29" fmla="*/ 6554707 h 6858000"/>
              <a:gd name="connsiteX30" fmla="*/ 8520246 w 9144000"/>
              <a:gd name="connsiteY30" fmla="*/ 6661564 h 6858000"/>
              <a:gd name="connsiteX31" fmla="*/ 8545321 w 9144000"/>
              <a:gd name="connsiteY31" fmla="*/ 6661564 h 6858000"/>
              <a:gd name="connsiteX32" fmla="*/ 8545321 w 9144000"/>
              <a:gd name="connsiteY32" fmla="*/ 6629932 h 6858000"/>
              <a:gd name="connsiteX33" fmla="*/ 8554631 w 9144000"/>
              <a:gd name="connsiteY33" fmla="*/ 6629932 h 6858000"/>
              <a:gd name="connsiteX34" fmla="*/ 8598420 w 9144000"/>
              <a:gd name="connsiteY34" fmla="*/ 6592019 h 6858000"/>
              <a:gd name="connsiteX35" fmla="*/ 8550347 w 9144000"/>
              <a:gd name="connsiteY35" fmla="*/ 6554707 h 6858000"/>
              <a:gd name="connsiteX36" fmla="*/ 8415496 w 9144000"/>
              <a:gd name="connsiteY36" fmla="*/ 6554707 h 6858000"/>
              <a:gd name="connsiteX37" fmla="*/ 8415496 w 9144000"/>
              <a:gd name="connsiteY37" fmla="*/ 6661470 h 6858000"/>
              <a:gd name="connsiteX38" fmla="*/ 8448547 w 9144000"/>
              <a:gd name="connsiteY38" fmla="*/ 6661583 h 6858000"/>
              <a:gd name="connsiteX39" fmla="*/ 8513278 w 9144000"/>
              <a:gd name="connsiteY39" fmla="*/ 6607214 h 6858000"/>
              <a:gd name="connsiteX40" fmla="*/ 8447462 w 9144000"/>
              <a:gd name="connsiteY40" fmla="*/ 6554745 h 6858000"/>
              <a:gd name="connsiteX41" fmla="*/ 8447500 w 9144000"/>
              <a:gd name="connsiteY41" fmla="*/ 6554707 h 6858000"/>
              <a:gd name="connsiteX42" fmla="*/ 8415496 w 9144000"/>
              <a:gd name="connsiteY42" fmla="*/ 6554707 h 6858000"/>
              <a:gd name="connsiteX43" fmla="*/ 8323901 w 9144000"/>
              <a:gd name="connsiteY43" fmla="*/ 6554707 h 6858000"/>
              <a:gd name="connsiteX44" fmla="*/ 8298694 w 9144000"/>
              <a:gd name="connsiteY44" fmla="*/ 6612649 h 6858000"/>
              <a:gd name="connsiteX45" fmla="*/ 8291859 w 9144000"/>
              <a:gd name="connsiteY45" fmla="*/ 6596645 h 6858000"/>
              <a:gd name="connsiteX46" fmla="*/ 8265624 w 9144000"/>
              <a:gd name="connsiteY46" fmla="*/ 6596645 h 6858000"/>
              <a:gd name="connsiteX47" fmla="*/ 8296943 w 9144000"/>
              <a:gd name="connsiteY47" fmla="*/ 6661978 h 6858000"/>
              <a:gd name="connsiteX48" fmla="*/ 8299856 w 9144000"/>
              <a:gd name="connsiteY48" fmla="*/ 6661978 h 6858000"/>
              <a:gd name="connsiteX49" fmla="*/ 8350594 w 9144000"/>
              <a:gd name="connsiteY49" fmla="*/ 6554707 h 6858000"/>
              <a:gd name="connsiteX50" fmla="*/ 8704282 w 9144000"/>
              <a:gd name="connsiteY50" fmla="*/ 6516148 h 6858000"/>
              <a:gd name="connsiteX51" fmla="*/ 8704282 w 9144000"/>
              <a:gd name="connsiteY51" fmla="*/ 6690773 h 6858000"/>
              <a:gd name="connsiteX52" fmla="*/ 8723671 w 9144000"/>
              <a:gd name="connsiteY52" fmla="*/ 6690773 h 6858000"/>
              <a:gd name="connsiteX53" fmla="*/ 8723671 w 9144000"/>
              <a:gd name="connsiteY53" fmla="*/ 6516148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21" y="6577275"/>
                </a:moveTo>
                <a:lnTo>
                  <a:pt x="8554631" y="6577275"/>
                </a:lnTo>
                <a:cubicBezTo>
                  <a:pt x="8567006" y="6577275"/>
                  <a:pt x="8572756" y="6583970"/>
                  <a:pt x="8572756" y="6592564"/>
                </a:cubicBezTo>
                <a:cubicBezTo>
                  <a:pt x="8572756" y="6602908"/>
                  <a:pt x="8566130" y="6608587"/>
                  <a:pt x="8552841" y="6608587"/>
                </a:cubicBezTo>
                <a:lnTo>
                  <a:pt x="8552841" y="6608474"/>
                </a:lnTo>
                <a:lnTo>
                  <a:pt x="8545321" y="6608474"/>
                </a:lnTo>
                <a:close/>
                <a:moveTo>
                  <a:pt x="8440532" y="6576165"/>
                </a:moveTo>
                <a:lnTo>
                  <a:pt x="8450870" y="6576165"/>
                </a:lnTo>
                <a:cubicBezTo>
                  <a:pt x="8474172" y="6576165"/>
                  <a:pt x="8486566" y="6587825"/>
                  <a:pt x="8486566" y="6607214"/>
                </a:cubicBezTo>
                <a:cubicBezTo>
                  <a:pt x="8486566" y="6627187"/>
                  <a:pt x="8476095" y="6640295"/>
                  <a:pt x="8452487" y="6640295"/>
                </a:cubicBezTo>
                <a:lnTo>
                  <a:pt x="8440532" y="6640295"/>
                </a:lnTo>
                <a:close/>
                <a:moveTo>
                  <a:pt x="8359313" y="6554745"/>
                </a:moveTo>
                <a:lnTo>
                  <a:pt x="8357847" y="6557848"/>
                </a:lnTo>
                <a:lnTo>
                  <a:pt x="8338066" y="6599654"/>
                </a:lnTo>
                <a:lnTo>
                  <a:pt x="8338066" y="6661565"/>
                </a:lnTo>
                <a:lnTo>
                  <a:pt x="8406529" y="6661565"/>
                </a:lnTo>
                <a:lnTo>
                  <a:pt x="8406529" y="6638978"/>
                </a:lnTo>
                <a:lnTo>
                  <a:pt x="8363159" y="6638978"/>
                </a:lnTo>
                <a:lnTo>
                  <a:pt x="8363159" y="6618141"/>
                </a:lnTo>
                <a:lnTo>
                  <a:pt x="8402683" y="6618141"/>
                </a:lnTo>
                <a:lnTo>
                  <a:pt x="8402683" y="6596570"/>
                </a:lnTo>
                <a:lnTo>
                  <a:pt x="8363159" y="6596570"/>
                </a:lnTo>
                <a:lnTo>
                  <a:pt x="8363159" y="6577482"/>
                </a:lnTo>
                <a:lnTo>
                  <a:pt x="8406529" y="6577482"/>
                </a:lnTo>
                <a:lnTo>
                  <a:pt x="8406529" y="6554745"/>
                </a:lnTo>
                <a:close/>
                <a:moveTo>
                  <a:pt x="8245576" y="6554726"/>
                </a:moveTo>
                <a:lnTo>
                  <a:pt x="8262083" y="6589123"/>
                </a:lnTo>
                <a:lnTo>
                  <a:pt x="8288527" y="6589123"/>
                </a:lnTo>
                <a:lnTo>
                  <a:pt x="8273963" y="6554726"/>
                </a:lnTo>
                <a:close/>
                <a:moveTo>
                  <a:pt x="8520246" y="6554707"/>
                </a:moveTo>
                <a:lnTo>
                  <a:pt x="8520246" y="6661564"/>
                </a:lnTo>
                <a:lnTo>
                  <a:pt x="8545321" y="6661564"/>
                </a:lnTo>
                <a:lnTo>
                  <a:pt x="8545321" y="6629932"/>
                </a:lnTo>
                <a:lnTo>
                  <a:pt x="8554631" y="6629932"/>
                </a:lnTo>
                <a:cubicBezTo>
                  <a:pt x="8583189" y="6629932"/>
                  <a:pt x="8598420" y="6614041"/>
                  <a:pt x="8598420" y="6592019"/>
                </a:cubicBezTo>
                <a:cubicBezTo>
                  <a:pt x="8598439" y="6570486"/>
                  <a:pt x="8581628" y="6554707"/>
                  <a:pt x="8550347" y="6554707"/>
                </a:cubicBezTo>
                <a:close/>
                <a:moveTo>
                  <a:pt x="8415496" y="6554707"/>
                </a:moveTo>
                <a:lnTo>
                  <a:pt x="8415496" y="6661470"/>
                </a:lnTo>
                <a:cubicBezTo>
                  <a:pt x="8415496" y="6661470"/>
                  <a:pt x="8435867" y="6661583"/>
                  <a:pt x="8448547" y="6661583"/>
                </a:cubicBezTo>
                <a:cubicBezTo>
                  <a:pt x="8493382" y="6661583"/>
                  <a:pt x="8513278" y="6638696"/>
                  <a:pt x="8513278" y="6607214"/>
                </a:cubicBezTo>
                <a:cubicBezTo>
                  <a:pt x="8513278" y="6577124"/>
                  <a:pt x="8492335" y="6554745"/>
                  <a:pt x="8447462" y="6554745"/>
                </a:cubicBezTo>
                <a:lnTo>
                  <a:pt x="8447500" y="6554707"/>
                </a:lnTo>
                <a:cubicBezTo>
                  <a:pt x="8436743" y="6554707"/>
                  <a:pt x="8415496" y="6554707"/>
                  <a:pt x="8415496" y="6554707"/>
                </a:cubicBezTo>
                <a:close/>
                <a:moveTo>
                  <a:pt x="8323901" y="6554707"/>
                </a:moveTo>
                <a:lnTo>
                  <a:pt x="8298694" y="6612649"/>
                </a:lnTo>
                <a:lnTo>
                  <a:pt x="8291859" y="6596645"/>
                </a:lnTo>
                <a:lnTo>
                  <a:pt x="8265624" y="6596645"/>
                </a:lnTo>
                <a:lnTo>
                  <a:pt x="8296943" y="6661978"/>
                </a:lnTo>
                <a:lnTo>
                  <a:pt x="8299856" y="6661978"/>
                </a:lnTo>
                <a:lnTo>
                  <a:pt x="8350594" y="6554707"/>
                </a:lnTo>
                <a:close/>
                <a:moveTo>
                  <a:pt x="8704282" y="6516148"/>
                </a:moveTo>
                <a:lnTo>
                  <a:pt x="8704282" y="6690773"/>
                </a:lnTo>
                <a:lnTo>
                  <a:pt x="8723671" y="6690773"/>
                </a:lnTo>
                <a:lnTo>
                  <a:pt x="8723671" y="6516148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lIns="792000" tIns="0" rIns="5256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he icon at the center of the slide to add a pre-designed half-page map graphic to the slide.</a:t>
            </a:r>
            <a:br>
              <a:rPr lang="en-US" dirty="0"/>
            </a:br>
            <a:r>
              <a:rPr lang="en-US" dirty="0"/>
              <a:t>(In the Marketing Resource Database, these files will have “half slide” in the files name)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89C8ABCA-426C-9447-AA12-B5A756649D54}"/>
              </a:ext>
            </a:extLst>
          </p:cNvPr>
          <p:cNvSpPr>
            <a:spLocks noGrp="1"/>
          </p:cNvSpPr>
          <p:nvPr userDrawn="1"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73" name="Content Placeholder 13">
            <a:extLst>
              <a:ext uri="{FF2B5EF4-FFF2-40B4-BE49-F238E27FC236}">
                <a16:creationId xmlns:a16="http://schemas.microsoft.com/office/drawing/2014/main" id="{BD8F7771-D5FD-5E48-914F-1B0C8281DAF2}"/>
              </a:ext>
            </a:extLst>
          </p:cNvPr>
          <p:cNvSpPr>
            <a:spLocks noGrp="1"/>
          </p:cNvSpPr>
          <p:nvPr userDrawn="1">
            <p:ph sz="quarter" idx="105"/>
          </p:nvPr>
        </p:nvSpPr>
        <p:spPr>
          <a:xfrm>
            <a:off x="4703522" y="1233489"/>
            <a:ext cx="4008676" cy="4932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662E80-C602-AD49-88C5-4C7981BFDF51}"/>
              </a:ext>
            </a:extLst>
          </p:cNvPr>
          <p:cNvSpPr>
            <a:spLocks noGrp="1"/>
          </p:cNvSpPr>
          <p:nvPr userDrawn="1"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AA8D22F-CD71-0048-A44D-45D040CB3EA8}"/>
              </a:ext>
            </a:extLst>
          </p:cNvPr>
          <p:cNvSpPr>
            <a:spLocks noGrp="1"/>
          </p:cNvSpPr>
          <p:nvPr userDrawn="1"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92EC2F9-9D32-434C-8F82-E8D200FC4895}"/>
              </a:ext>
            </a:extLst>
          </p:cNvPr>
          <p:cNvSpPr>
            <a:spLocks noGrp="1"/>
          </p:cNvSpPr>
          <p:nvPr userDrawn="1">
            <p:ph type="sldNum" sz="quarter" idx="10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B57B4F9-541A-FA47-94AB-4A76E2D84EBB}"/>
              </a:ext>
            </a:extLst>
          </p:cNvPr>
          <p:cNvGrpSpPr/>
          <p:nvPr userDrawn="1"/>
        </p:nvGrpSpPr>
        <p:grpSpPr>
          <a:xfrm>
            <a:off x="9399182" y="-1"/>
            <a:ext cx="2974470" cy="12489650"/>
            <a:chOff x="9399182" y="-1"/>
            <a:chExt cx="2974470" cy="12489650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F39C21F-C07C-7740-9183-FE0C02C54D48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1232329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62DE5BAE-3274-6547-A846-0E36742248D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EA8A0D49-B3FC-114E-BD4F-A224D345C631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36" name="Rectangle 135">
                <a:extLst>
                  <a:ext uri="{FF2B5EF4-FFF2-40B4-BE49-F238E27FC236}">
                    <a16:creationId xmlns:a16="http://schemas.microsoft.com/office/drawing/2014/main" id="{9B430B4D-00A5-0E44-AEFA-4FF0C5C67CB2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1A92EEBC-DB6D-1349-822C-5E9062E5C64A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38" name="Picture 137">
                <a:extLst>
                  <a:ext uri="{FF2B5EF4-FFF2-40B4-BE49-F238E27FC236}">
                    <a16:creationId xmlns:a16="http://schemas.microsoft.com/office/drawing/2014/main" id="{2B5D82AA-15DA-6F48-B821-49645A8B7DD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C9C4E2FC-B406-D849-816A-FE7024AFBE6E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105231A2-EDEC-3E4B-91A8-B78EAD4061BD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72E3E04B-C66B-DE46-870F-2C26FF6D7F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2553D65-8D5E-9043-AA8A-EB0588AA8551}"/>
                </a:ext>
              </a:extLst>
            </p:cNvPr>
            <p:cNvGrpSpPr/>
            <p:nvPr userDrawn="1"/>
          </p:nvGrpSpPr>
          <p:grpSpPr>
            <a:xfrm>
              <a:off x="9541497" y="3679950"/>
              <a:ext cx="2735151" cy="2655095"/>
              <a:chOff x="9541497" y="11478235"/>
              <a:chExt cx="2735151" cy="2655095"/>
            </a:xfrm>
          </p:grpSpPr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9B9C9F49-49E7-CA4E-849A-BB97B8486113}"/>
                  </a:ext>
                </a:extLst>
              </p:cNvPr>
              <p:cNvGrpSpPr/>
              <p:nvPr userDrawn="1"/>
            </p:nvGrpSpPr>
            <p:grpSpPr>
              <a:xfrm>
                <a:off x="9541497" y="11478235"/>
                <a:ext cx="2735151" cy="2655095"/>
                <a:chOff x="9296567" y="4910411"/>
                <a:chExt cx="2735151" cy="2655095"/>
              </a:xfrm>
            </p:grpSpPr>
            <p:sp>
              <p:nvSpPr>
                <p:cNvPr id="126" name="Rectangle 125">
                  <a:extLst>
                    <a:ext uri="{FF2B5EF4-FFF2-40B4-BE49-F238E27FC236}">
                      <a16:creationId xmlns:a16="http://schemas.microsoft.com/office/drawing/2014/main" id="{8025FD44-3660-E343-B0A6-B6F6EDF3C8C6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265509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7" name="TextBox 126">
                  <a:extLst>
                    <a:ext uri="{FF2B5EF4-FFF2-40B4-BE49-F238E27FC236}">
                      <a16:creationId xmlns:a16="http://schemas.microsoft.com/office/drawing/2014/main" id="{FE31536B-440B-8046-88B3-2642529016B3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Automatic paragraph spacing</a:t>
                  </a:r>
                </a:p>
              </p:txBody>
            </p:sp>
            <p:pic>
              <p:nvPicPr>
                <p:cNvPr id="128" name="Graphic 127">
                  <a:extLst>
                    <a:ext uri="{FF2B5EF4-FFF2-40B4-BE49-F238E27FC236}">
                      <a16:creationId xmlns:a16="http://schemas.microsoft.com/office/drawing/2014/main" id="{A16034BD-6983-5C4A-9FEC-2CE8E81F500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9" name="TextBox 128">
                  <a:extLst>
                    <a:ext uri="{FF2B5EF4-FFF2-40B4-BE49-F238E27FC236}">
                      <a16:creationId xmlns:a16="http://schemas.microsoft.com/office/drawing/2014/main" id="{2ABC9F07-580A-7E4A-B11B-F111FDC350F5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5300350"/>
                  <a:ext cx="2271204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 dirty="0"/>
                    <a:t>This template automatically adds paragraph spacing between first-level text paragraphs. When pasting in content, remember to delete any extra blank lines from your text.</a:t>
                  </a:r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09B499C6-2BCA-D941-836C-075460C0EC17}"/>
                  </a:ext>
                </a:extLst>
              </p:cNvPr>
              <p:cNvGrpSpPr/>
              <p:nvPr userDrawn="1"/>
            </p:nvGrpSpPr>
            <p:grpSpPr>
              <a:xfrm>
                <a:off x="9746489" y="12492855"/>
                <a:ext cx="2159761" cy="1627918"/>
                <a:chOff x="9746489" y="3617325"/>
                <a:chExt cx="2159761" cy="1627918"/>
              </a:xfrm>
            </p:grpSpPr>
            <p:pic>
              <p:nvPicPr>
                <p:cNvPr id="117" name="Picture 116">
                  <a:extLst>
                    <a:ext uri="{FF2B5EF4-FFF2-40B4-BE49-F238E27FC236}">
                      <a16:creationId xmlns:a16="http://schemas.microsoft.com/office/drawing/2014/main" id="{AABA3998-6D10-4545-A7DF-6ED794AC719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0075660" y="3617325"/>
                  <a:ext cx="1830590" cy="1627918"/>
                </a:xfrm>
                <a:prstGeom prst="rect">
                  <a:avLst/>
                </a:prstGeom>
              </p:spPr>
            </p:pic>
            <p:cxnSp>
              <p:nvCxnSpPr>
                <p:cNvPr id="118" name="Straight Connector 117">
                  <a:extLst>
                    <a:ext uri="{FF2B5EF4-FFF2-40B4-BE49-F238E27FC236}">
                      <a16:creationId xmlns:a16="http://schemas.microsoft.com/office/drawing/2014/main" id="{2EEFBFC1-6C0D-0348-B560-CF141A2017F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3825943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118">
                  <a:extLst>
                    <a:ext uri="{FF2B5EF4-FFF2-40B4-BE49-F238E27FC236}">
                      <a16:creationId xmlns:a16="http://schemas.microsoft.com/office/drawing/2014/main" id="{9ADBFB77-76D0-6444-AB28-A01243DE58E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0147060" y="4714218"/>
                  <a:ext cx="0" cy="186966"/>
                </a:xfrm>
                <a:prstGeom prst="line">
                  <a:avLst/>
                </a:prstGeom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798FC946-C3A9-DA4D-8EB6-7E9386F341B4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3828243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2A28E02E-BC50-B343-919D-78A769FA9250}"/>
                    </a:ext>
                  </a:extLst>
                </p:cNvPr>
                <p:cNvSpPr txBox="1"/>
                <p:nvPr userDrawn="1"/>
              </p:nvSpPr>
              <p:spPr>
                <a:xfrm>
                  <a:off x="9746489" y="4721742"/>
                  <a:ext cx="343043" cy="184666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/>
                <a:p>
                  <a:pPr algn="r"/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utomatic</a:t>
                  </a:r>
                  <a:b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6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space</a:t>
                  </a:r>
                </a:p>
              </p:txBody>
            </p:sp>
          </p:grp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A4CF5DAB-1553-C04B-92A4-F1198F8EECE3}"/>
                </a:ext>
              </a:extLst>
            </p:cNvPr>
            <p:cNvGrpSpPr/>
            <p:nvPr userDrawn="1"/>
          </p:nvGrpSpPr>
          <p:grpSpPr>
            <a:xfrm>
              <a:off x="9521833" y="6475824"/>
              <a:ext cx="2754815" cy="6013825"/>
              <a:chOff x="9521833" y="-6801152"/>
              <a:chExt cx="2754815" cy="6013825"/>
            </a:xfrm>
          </p:grpSpPr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07BD5352-94B5-1940-89E6-DC02A72A4418}"/>
                  </a:ext>
                </a:extLst>
              </p:cNvPr>
              <p:cNvSpPr txBox="1"/>
              <p:nvPr userDrawn="1"/>
            </p:nvSpPr>
            <p:spPr>
              <a:xfrm>
                <a:off x="9558507" y="-6801152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E135D9E-6B8E-BF4A-8B52-EEAE03AC9D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-659853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C3F42BF-41FD-244D-86C9-0031DA675594}"/>
                  </a:ext>
                </a:extLst>
              </p:cNvPr>
              <p:cNvSpPr txBox="1"/>
              <p:nvPr userDrawn="1"/>
            </p:nvSpPr>
            <p:spPr>
              <a:xfrm>
                <a:off x="9686426" y="-574022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1AF14A82-884D-6E44-833A-66AEAE8D73E5}"/>
                  </a:ext>
                </a:extLst>
              </p:cNvPr>
              <p:cNvGrpSpPr/>
              <p:nvPr userDrawn="1"/>
            </p:nvGrpSpPr>
            <p:grpSpPr>
              <a:xfrm>
                <a:off x="9541497" y="-2198642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67" name="Rectangle 66">
                  <a:extLst>
                    <a:ext uri="{FF2B5EF4-FFF2-40B4-BE49-F238E27FC236}">
                      <a16:creationId xmlns:a16="http://schemas.microsoft.com/office/drawing/2014/main" id="{F7A9386A-4C7E-3A41-8497-284AAB05A9F1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233D935-4B30-F44F-9AE5-ED48766ABB37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69" name="Graphic 68">
                  <a:extLst>
                    <a:ext uri="{FF2B5EF4-FFF2-40B4-BE49-F238E27FC236}">
                      <a16:creationId xmlns:a16="http://schemas.microsoft.com/office/drawing/2014/main" id="{16F18F42-237E-5D49-9406-C82AB8706B5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DE14BA7F-29C8-C24E-928B-592788C3333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29C49CB8-3278-3D41-8689-3FE7FAAE598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72" name="TextBox 71">
                  <a:extLst>
                    <a:ext uri="{FF2B5EF4-FFF2-40B4-BE49-F238E27FC236}">
                      <a16:creationId xmlns:a16="http://schemas.microsoft.com/office/drawing/2014/main" id="{22BE9216-4058-A445-B627-693F5A96240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14F294D6-B313-E949-842F-F41379956161}"/>
                  </a:ext>
                </a:extLst>
              </p:cNvPr>
              <p:cNvGrpSpPr/>
              <p:nvPr userDrawn="1"/>
            </p:nvGrpSpPr>
            <p:grpSpPr>
              <a:xfrm>
                <a:off x="9541497" y="-3555298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14F654D1-DB8F-CE4F-A23A-52B9BC2BFFEA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1DC4A4C9-98A4-154F-8F68-6545453B1513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2" name="Graphic 61">
                  <a:extLst>
                    <a:ext uri="{FF2B5EF4-FFF2-40B4-BE49-F238E27FC236}">
                      <a16:creationId xmlns:a16="http://schemas.microsoft.com/office/drawing/2014/main" id="{09C862AD-FB96-864E-8468-306B3BB1F66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F14F4FFA-0615-1D48-B3DF-3595FF4FE063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64" name="Picture 63">
                  <a:extLst>
                    <a:ext uri="{FF2B5EF4-FFF2-40B4-BE49-F238E27FC236}">
                      <a16:creationId xmlns:a16="http://schemas.microsoft.com/office/drawing/2014/main" id="{88F30D86-450E-F848-A211-E408470B957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8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02D72FD7-6279-0446-AC58-A3C3DC24D160}"/>
                  </a:ext>
                </a:extLst>
              </p:cNvPr>
              <p:cNvGrpSpPr/>
              <p:nvPr userDrawn="1"/>
            </p:nvGrpSpPr>
            <p:grpSpPr>
              <a:xfrm>
                <a:off x="9521833" y="-6476032"/>
                <a:ext cx="2617883" cy="651460"/>
                <a:chOff x="12352022" y="513115"/>
                <a:chExt cx="2617883" cy="651460"/>
              </a:xfrm>
            </p:grpSpPr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F61D0EBF-B2C0-7046-B77D-2B9CD522884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80E248F4-5967-3B48-BA75-443830FB430F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4458B103-16C3-734D-9D4C-08A0AD40A3F8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9F6763D5-C877-A84E-AA38-3CED305D0841}"/>
                  </a:ext>
                </a:extLst>
              </p:cNvPr>
              <p:cNvSpPr txBox="1"/>
              <p:nvPr userDrawn="1"/>
            </p:nvSpPr>
            <p:spPr>
              <a:xfrm>
                <a:off x="9674267" y="-54569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FB47FC7-5B8F-1A47-817A-A3CF2131BD9D}"/>
                  </a:ext>
                </a:extLst>
              </p:cNvPr>
              <p:cNvSpPr txBox="1"/>
              <p:nvPr userDrawn="1"/>
            </p:nvSpPr>
            <p:spPr>
              <a:xfrm>
                <a:off x="9686426" y="-5041663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CD80403-C6E9-C346-A05A-8AE1F1F93179}"/>
                  </a:ext>
                </a:extLst>
              </p:cNvPr>
              <p:cNvSpPr txBox="1"/>
              <p:nvPr userDrawn="1"/>
            </p:nvSpPr>
            <p:spPr>
              <a:xfrm>
                <a:off x="9686426" y="-4321573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6AB870E0-EE0A-D84C-A2C8-84EDC9B761D9}"/>
                  </a:ext>
                </a:extLst>
              </p:cNvPr>
              <p:cNvSpPr txBox="1"/>
              <p:nvPr userDrawn="1"/>
            </p:nvSpPr>
            <p:spPr>
              <a:xfrm>
                <a:off x="9674267" y="-389101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51C8198C-DD7F-BA46-8818-A422C4B5DDAB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51461867-39BD-8443-858A-89E8E720E047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B43C4940-84D3-BE4D-B6C7-B9F4069E6AF2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78" name="Rectangle 77">
                    <a:extLst>
                      <a:ext uri="{FF2B5EF4-FFF2-40B4-BE49-F238E27FC236}">
                        <a16:creationId xmlns:a16="http://schemas.microsoft.com/office/drawing/2014/main" id="{9D64EC32-DC56-1A4F-B329-EFB7AD05123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9" name="TextBox 78">
                    <a:extLst>
                      <a:ext uri="{FF2B5EF4-FFF2-40B4-BE49-F238E27FC236}">
                        <a16:creationId xmlns:a16="http://schemas.microsoft.com/office/drawing/2014/main" id="{98AC335A-B89B-6A4C-9272-D47CD0D06EC8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81" name="TextBox 80">
                    <a:extLst>
                      <a:ext uri="{FF2B5EF4-FFF2-40B4-BE49-F238E27FC236}">
                        <a16:creationId xmlns:a16="http://schemas.microsoft.com/office/drawing/2014/main" id="{278ECCAF-CE58-9C43-BD97-C451117E731F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77" name="Graphic 76">
                  <a:extLst>
                    <a:ext uri="{FF2B5EF4-FFF2-40B4-BE49-F238E27FC236}">
                      <a16:creationId xmlns:a16="http://schemas.microsoft.com/office/drawing/2014/main" id="{AB366EEA-B03C-9046-8AD6-59CC9C8CE5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699DEED4-35C2-9441-873F-AAED33354F6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764123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E0F2A22-DC4A-E346-AE87-FB4ED45777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1783" y="2218123"/>
            <a:ext cx="3941999" cy="2955675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add a pre-designed</a:t>
            </a:r>
            <a:br>
              <a:rPr lang="en-US" dirty="0"/>
            </a:br>
            <a:r>
              <a:rPr lang="en-US" dirty="0"/>
              <a:t>ranking or quote graphic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1640ADA5-7398-B640-ADDD-6DF2A63EF34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70778" y="2217969"/>
            <a:ext cx="3941422" cy="2955983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to add a pre-designed</a:t>
            </a:r>
            <a:br>
              <a:rPr lang="en-US" dirty="0"/>
            </a:br>
            <a:r>
              <a:rPr lang="en-US" dirty="0"/>
              <a:t>ranking or quote graphic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7DBB08-85DE-1A46-BB43-C98D1EBB9768}"/>
              </a:ext>
            </a:extLst>
          </p:cNvPr>
          <p:cNvCxnSpPr>
            <a:cxnSpLocks/>
          </p:cNvCxnSpPr>
          <p:nvPr userDrawn="1"/>
        </p:nvCxnSpPr>
        <p:spPr>
          <a:xfrm>
            <a:off x="4572000" y="2217969"/>
            <a:ext cx="0" cy="2955983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90A94CCC-95A0-1A46-97DB-01C300149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38EB76C2-EC49-D74D-8138-42F36071D111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AC8874-ADB0-E745-A95D-BC630D73D54E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65C2A2-356A-7548-BE96-5A0D200A7CD7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83E43E-DF9D-AB4F-843F-9C58B110211E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4BF7355-4363-8343-BF89-F6DDE86B3E19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C3EFD55-F84B-3140-8A09-E694BBDB477A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52CEB7A-9DDD-2846-8CDB-25FF2BD4E0F2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9C639E71-F95A-7A4A-BCA4-1C7279BE09D4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241572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 RANKING GRAPHIC</a:t>
                </a: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3454B777-88A5-A54A-8688-8CCFBB2CBB5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386A5866-BE39-6A48-AE63-C492C5C420BC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BDBCBCD-7B16-ED4B-89CB-3BAB8B70B23B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7707291B-F5C5-E84D-BB87-EC256B761F2F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47E811E1-3D01-0242-B581-B3D0E2D9E8C8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66" name="Graphic 65">
                  <a:extLst>
                    <a:ext uri="{FF2B5EF4-FFF2-40B4-BE49-F238E27FC236}">
                      <a16:creationId xmlns:a16="http://schemas.microsoft.com/office/drawing/2014/main" id="{CC7533CE-AAD6-6A4F-B604-501FBC22F2F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DEFC58F9-83F9-F24E-8CFB-85C42B9FF28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4343EFA7-F04B-AD4C-B49F-773E72FEEA0C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74414D03-81D7-8041-8A2A-5F8A32095DD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49F75BF1-C2B3-B54F-8730-6D9E5FA3B42F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390CF49D-B56E-F246-9B8F-7253ADBF55CF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5CA0CD73-90A4-5947-9FED-FC045B6A96DB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61" name="Graphic 60">
                  <a:extLst>
                    <a:ext uri="{FF2B5EF4-FFF2-40B4-BE49-F238E27FC236}">
                      <a16:creationId xmlns:a16="http://schemas.microsoft.com/office/drawing/2014/main" id="{8566AC83-205E-F840-8065-FAD2AD96F82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2" name="TextBox 61">
                  <a:extLst>
                    <a:ext uri="{FF2B5EF4-FFF2-40B4-BE49-F238E27FC236}">
                      <a16:creationId xmlns:a16="http://schemas.microsoft.com/office/drawing/2014/main" id="{DDEB2D73-0AF0-D34E-88C1-C738A08E9937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63" name="Picture 62">
                  <a:extLst>
                    <a:ext uri="{FF2B5EF4-FFF2-40B4-BE49-F238E27FC236}">
                      <a16:creationId xmlns:a16="http://schemas.microsoft.com/office/drawing/2014/main" id="{CA429C1D-9A21-394C-A2DC-7BF8A319EFA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49CCA4E1-8EF5-2549-84B1-9E3BBF0438EA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C2E305A8-FA70-5E42-8141-397DA68944F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7ED7D884-C4B1-7941-88D0-3BC49DC1632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FEBB71D5-7B19-FE4A-8102-B363C4A42F30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A1548EEE-06E3-CC41-9F8E-0DDC2A665391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73BFC1D0-EE7B-E04D-8255-6C212EF19379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AFBE415B-053E-814E-B121-87F6ADDFE554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41737B6D-EC46-E844-88B0-2E9EB831AD16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9705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lai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7FB454B8-622E-D643-B38F-8FBBFCD62ABD}"/>
              </a:ext>
            </a:extLst>
          </p:cNvPr>
          <p:cNvSpPr/>
          <p:nvPr userDrawn="1"/>
        </p:nvSpPr>
        <p:spPr>
          <a:xfrm flipH="1">
            <a:off x="1867" y="2171627"/>
            <a:ext cx="8780681" cy="1815552"/>
          </a:xfrm>
          <a:custGeom>
            <a:avLst/>
            <a:gdLst>
              <a:gd name="connsiteX0" fmla="*/ 8780681 w 8780681"/>
              <a:gd name="connsiteY0" fmla="*/ 0 h 1815552"/>
              <a:gd name="connsiteX1" fmla="*/ 861570 w 8780681"/>
              <a:gd name="connsiteY1" fmla="*/ 0 h 1815552"/>
              <a:gd name="connsiteX2" fmla="*/ 0 w 8780681"/>
              <a:gd name="connsiteY2" fmla="*/ 1815552 h 1815552"/>
              <a:gd name="connsiteX3" fmla="*/ 8780681 w 8780681"/>
              <a:gd name="connsiteY3" fmla="*/ 1815552 h 18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0681" h="1815552">
                <a:moveTo>
                  <a:pt x="8780681" y="0"/>
                </a:moveTo>
                <a:lnTo>
                  <a:pt x="861570" y="0"/>
                </a:lnTo>
                <a:lnTo>
                  <a:pt x="0" y="1815552"/>
                </a:lnTo>
                <a:lnTo>
                  <a:pt x="8780681" y="181555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A7DAA80D-E5FC-834A-808A-ED4B4782F280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E81DABE-F464-1D49-8042-2AB1827E1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9428846E-90EC-CF46-BA3C-6E7E7F9A6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357718"/>
            <a:ext cx="7495477" cy="1443370"/>
          </a:xfrm>
        </p:spPr>
        <p:txBody>
          <a:bodyPr anchor="ctr"/>
          <a:lstStyle>
            <a:lvl1pPr>
              <a:defRPr sz="3600"/>
            </a:lvl1pPr>
          </a:lstStyle>
          <a:p>
            <a:pPr lvl="0"/>
            <a:r>
              <a:rPr lang="en-US" dirty="0"/>
              <a:t>CLICK TO EDIT PRESENTATION TITLE. ALL CAPS. TWO LINES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F8990A5-0ABE-6D46-9F28-E80369FD7B27}"/>
              </a:ext>
            </a:extLst>
          </p:cNvPr>
          <p:cNvGrpSpPr/>
          <p:nvPr userDrawn="1"/>
        </p:nvGrpSpPr>
        <p:grpSpPr>
          <a:xfrm>
            <a:off x="-256964" y="2662813"/>
            <a:ext cx="251461" cy="803868"/>
            <a:chOff x="-256404" y="360363"/>
            <a:chExt cx="251461" cy="69215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6C7E69-FE02-E149-8BB5-434392A5681B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82F7D333-4D72-0B45-8D5E-E052DE17B4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2BFE8D9F-D9D1-7446-8D2B-391634400F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647C002-34D7-E549-BD63-5A83EC7E36C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A3789A9-A137-3A4B-87B9-41698E91325A}"/>
                </a:ext>
              </a:extLst>
            </p:cNvPr>
            <p:cNvSpPr txBox="1"/>
            <p:nvPr userDrawn="1"/>
          </p:nvSpPr>
          <p:spPr>
            <a:xfrm rot="16200000">
              <a:off x="-252501" y="649201"/>
              <a:ext cx="243656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F586333-824B-794D-AA8F-3C6BE5F1C65F}"/>
              </a:ext>
            </a:extLst>
          </p:cNvPr>
          <p:cNvGrpSpPr/>
          <p:nvPr userDrawn="1"/>
        </p:nvGrpSpPr>
        <p:grpSpPr>
          <a:xfrm>
            <a:off x="-256964" y="6029561"/>
            <a:ext cx="251461" cy="414972"/>
            <a:chOff x="-256404" y="360363"/>
            <a:chExt cx="251461" cy="69215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6495F36-0325-BD46-AEAC-EFD96052E07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BCB0A2ED-696C-614E-B833-27629591344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8D5C0D5A-FDE9-F944-909A-630F0DA12F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49102644-5D60-EE47-9759-33BE1EBA9FF3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4E28546-B774-3A40-B34C-AAF59ECF1BD9}"/>
                </a:ext>
              </a:extLst>
            </p:cNvPr>
            <p:cNvSpPr txBox="1"/>
            <p:nvPr userDrawn="1"/>
          </p:nvSpPr>
          <p:spPr>
            <a:xfrm rot="16200000">
              <a:off x="-328529" y="649200"/>
              <a:ext cx="395711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40F04A0-110C-5F42-B566-20EA7EADEBC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1" y="6061208"/>
            <a:ext cx="3313429" cy="364145"/>
          </a:xfrm>
        </p:spPr>
        <p:txBody>
          <a:bodyPr anchor="ctr"/>
          <a:lstStyle>
            <a:lvl1pPr marL="9525" indent="0">
              <a:buFontTx/>
              <a:buNone/>
              <a:tabLst/>
              <a:defRPr sz="1400" b="0">
                <a:solidFill>
                  <a:schemeClr val="bg1"/>
                </a:solidFill>
              </a:defRPr>
            </a:lvl1pPr>
            <a:lvl2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  <a:lvl6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6pPr>
            <a:lvl7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7pPr>
            <a:lvl8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8pPr>
            <a:lvl9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 (Month DD, YYYY)</a:t>
            </a:r>
          </a:p>
        </p:txBody>
      </p:sp>
    </p:spTree>
    <p:extLst>
      <p:ext uri="{BB962C8B-B14F-4D97-AF65-F5344CB8AC3E}">
        <p14:creationId xmlns:p14="http://schemas.microsoft.com/office/powerpoint/2010/main" val="3513902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Rank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7DBB08-85DE-1A46-BB43-C98D1EBB9768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233488"/>
            <a:ext cx="0" cy="4932362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BDB01CD-2962-8340-88FB-839DBE47CB09}"/>
              </a:ext>
            </a:extLst>
          </p:cNvPr>
          <p:cNvCxnSpPr>
            <a:cxnSpLocks/>
          </p:cNvCxnSpPr>
          <p:nvPr userDrawn="1"/>
        </p:nvCxnSpPr>
        <p:spPr>
          <a:xfrm flipH="1">
            <a:off x="431801" y="3699669"/>
            <a:ext cx="8280399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A6A8005-7996-1E40-9EA1-933A3B5C30FA}"/>
              </a:ext>
            </a:extLst>
          </p:cNvPr>
          <p:cNvSpPr/>
          <p:nvPr userDrawn="1"/>
        </p:nvSpPr>
        <p:spPr>
          <a:xfrm>
            <a:off x="4430814" y="3558483"/>
            <a:ext cx="282373" cy="2823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0A94CCC-95A0-1A46-97DB-01C300149D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91EC1F1B-FF90-E74E-B72A-B7A125D22585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46CC54C-7B68-E241-9642-3F0AEBCE1D3E}"/>
              </a:ext>
            </a:extLst>
          </p:cNvPr>
          <p:cNvGrpSpPr/>
          <p:nvPr userDrawn="1"/>
        </p:nvGrpSpPr>
        <p:grpSpPr>
          <a:xfrm>
            <a:off x="9399182" y="-1"/>
            <a:ext cx="2874210" cy="6858001"/>
            <a:chOff x="9144000" y="-1"/>
            <a:chExt cx="2874210" cy="685800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CAF3989-9001-1D42-BFD2-B3EE44E569C1}"/>
                </a:ext>
              </a:extLst>
            </p:cNvPr>
            <p:cNvSpPr/>
            <p:nvPr userDrawn="1"/>
          </p:nvSpPr>
          <p:spPr>
            <a:xfrm>
              <a:off x="9144000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3F2572A-15DB-CA44-97F0-4402CF54CD81}"/>
                </a:ext>
              </a:extLst>
            </p:cNvPr>
            <p:cNvGrpSpPr/>
            <p:nvPr userDrawn="1"/>
          </p:nvGrpSpPr>
          <p:grpSpPr>
            <a:xfrm>
              <a:off x="9263395" y="150289"/>
              <a:ext cx="2754815" cy="6013825"/>
              <a:chOff x="9266651" y="185338"/>
              <a:chExt cx="2754815" cy="6013825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A831107F-3B71-A246-94F0-2CE3B86E6490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2415726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 RANKING GRAPHIC</a:t>
                </a: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9DCE2AC9-948B-6D42-B58B-27F86BD2882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F9B6675-437C-2442-A0FD-A32F3ECBBE63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68EEA0A5-F3D7-6E42-8D40-78F80F4B8729}"/>
                  </a:ext>
                </a:extLst>
              </p:cNvPr>
              <p:cNvGrpSpPr/>
              <p:nvPr userDrawn="1"/>
            </p:nvGrpSpPr>
            <p:grpSpPr>
              <a:xfrm>
                <a:off x="9286315" y="478784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FFE7198E-18DB-3D4C-ACF1-59FA0D8A7324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21063239-8381-314C-B8AB-56546C63F8A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48" name="Graphic 47">
                  <a:extLst>
                    <a:ext uri="{FF2B5EF4-FFF2-40B4-BE49-F238E27FC236}">
                      <a16:creationId xmlns:a16="http://schemas.microsoft.com/office/drawing/2014/main" id="{59CE261D-316E-0443-9C75-851826E0F94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687D252E-574D-6641-B186-9B6BF591E53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7DEC1CC5-BF48-CE46-B863-0760ACFFC917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3A57F9FD-D4F2-DA46-AD18-8A912DFB191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AE16DB9C-E5B2-884A-9565-EEAF0C5CF9BF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5D76DD2-29C7-BD42-9BE9-1550F8B7BDF1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E7045288-2B1C-4240-9A09-B89800D81B9D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41" name="Graphic 40">
                  <a:extLst>
                    <a:ext uri="{FF2B5EF4-FFF2-40B4-BE49-F238E27FC236}">
                      <a16:creationId xmlns:a16="http://schemas.microsoft.com/office/drawing/2014/main" id="{9C95FF09-8F95-C741-80C5-9454ECCF66FF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C04D2D0F-4866-1448-921A-43934368B081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43" name="Picture 42">
                  <a:extLst>
                    <a:ext uri="{FF2B5EF4-FFF2-40B4-BE49-F238E27FC236}">
                      <a16:creationId xmlns:a16="http://schemas.microsoft.com/office/drawing/2014/main" id="{2DACD82A-9A31-2640-A95E-91093780113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4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143CC937-04D8-DE45-8D1A-A0DB7A99D293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820E4047-347B-0646-A5C0-9C67844D04A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141E9D61-4264-1F40-8A29-25D967620479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D0A5D692-BC3D-524B-9835-3D96650DE31A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3C323880-D720-CB4D-BE01-DE5BBD7897E2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9EF3C03E-D1A7-144E-BB81-4551B13F525D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E99FADFB-AEE1-B940-8414-BC0369A1F7EF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E441ADD-F33A-BB4A-B90B-1DE478BAD320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736864-A696-CE41-ABC2-ABC572DF6E7C}"/>
              </a:ext>
            </a:extLst>
          </p:cNvPr>
          <p:cNvSpPr>
            <a:spLocks noGrp="1"/>
          </p:cNvSpPr>
          <p:nvPr>
            <p:ph type="dt" sz="half" idx="10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336FBA-2F01-B14F-8747-8F105CF5439F}"/>
              </a:ext>
            </a:extLst>
          </p:cNvPr>
          <p:cNvSpPr>
            <a:spLocks noGrp="1"/>
          </p:cNvSpPr>
          <p:nvPr>
            <p:ph type="ftr" sz="quarter" idx="10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12BF78-99E1-2F48-8801-14B42F731A25}"/>
              </a:ext>
            </a:extLst>
          </p:cNvPr>
          <p:cNvSpPr>
            <a:spLocks noGrp="1"/>
          </p:cNvSpPr>
          <p:nvPr>
            <p:ph type="sldNum" sz="quarter" idx="106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60" name="Freeform 59">
            <a:extLst>
              <a:ext uri="{FF2B5EF4-FFF2-40B4-BE49-F238E27FC236}">
                <a16:creationId xmlns:a16="http://schemas.microsoft.com/office/drawing/2014/main" id="{1B8EE01B-6230-DE4D-94BD-23EB640CF2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1782" y="939470"/>
            <a:ext cx="3681291" cy="2760199"/>
          </a:xfrm>
          <a:custGeom>
            <a:avLst/>
            <a:gdLst>
              <a:gd name="connsiteX0" fmla="*/ 0 w 3681291"/>
              <a:gd name="connsiteY0" fmla="*/ 2756057 h 2760199"/>
              <a:gd name="connsiteX1" fmla="*/ 4143 w 3681291"/>
              <a:gd name="connsiteY1" fmla="*/ 2756057 h 2760199"/>
              <a:gd name="connsiteX2" fmla="*/ 4143 w 3681291"/>
              <a:gd name="connsiteY2" fmla="*/ 2760199 h 2760199"/>
              <a:gd name="connsiteX3" fmla="*/ 0 w 3681291"/>
              <a:gd name="connsiteY3" fmla="*/ 2760199 h 2760199"/>
              <a:gd name="connsiteX4" fmla="*/ 0 w 3681291"/>
              <a:gd name="connsiteY4" fmla="*/ 440325 h 2760199"/>
              <a:gd name="connsiteX5" fmla="*/ 3681291 w 3681291"/>
              <a:gd name="connsiteY5" fmla="*/ 440325 h 2760199"/>
              <a:gd name="connsiteX6" fmla="*/ 3681291 w 3681291"/>
              <a:gd name="connsiteY6" fmla="*/ 2478925 h 2760199"/>
              <a:gd name="connsiteX7" fmla="*/ 0 w 3681291"/>
              <a:gd name="connsiteY7" fmla="*/ 2478925 h 2760199"/>
              <a:gd name="connsiteX8" fmla="*/ 0 w 3681291"/>
              <a:gd name="connsiteY8" fmla="*/ 0 h 2760199"/>
              <a:gd name="connsiteX9" fmla="*/ 4143 w 3681291"/>
              <a:gd name="connsiteY9" fmla="*/ 0 h 2760199"/>
              <a:gd name="connsiteX10" fmla="*/ 4143 w 3681291"/>
              <a:gd name="connsiteY10" fmla="*/ 4143 h 2760199"/>
              <a:gd name="connsiteX11" fmla="*/ 0 w 3681291"/>
              <a:gd name="connsiteY11" fmla="*/ 4143 h 276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1291" h="2760199">
                <a:moveTo>
                  <a:pt x="0" y="2756057"/>
                </a:moveTo>
                <a:lnTo>
                  <a:pt x="4143" y="2756057"/>
                </a:lnTo>
                <a:lnTo>
                  <a:pt x="4143" y="2760199"/>
                </a:lnTo>
                <a:lnTo>
                  <a:pt x="0" y="2760199"/>
                </a:lnTo>
                <a:close/>
                <a:moveTo>
                  <a:pt x="0" y="440325"/>
                </a:moveTo>
                <a:lnTo>
                  <a:pt x="3681291" y="440325"/>
                </a:lnTo>
                <a:lnTo>
                  <a:pt x="3681291" y="2478925"/>
                </a:lnTo>
                <a:lnTo>
                  <a:pt x="0" y="2478925"/>
                </a:lnTo>
                <a:close/>
                <a:moveTo>
                  <a:pt x="0" y="0"/>
                </a:moveTo>
                <a:lnTo>
                  <a:pt x="4143" y="0"/>
                </a:lnTo>
                <a:lnTo>
                  <a:pt x="4143" y="4143"/>
                </a:lnTo>
                <a:lnTo>
                  <a:pt x="0" y="4143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bIns="900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pre-designed</a:t>
            </a:r>
            <a:br>
              <a:rPr lang="en-US" dirty="0"/>
            </a:br>
            <a:r>
              <a:rPr lang="en-US" dirty="0"/>
              <a:t>ranking graphic</a:t>
            </a:r>
          </a:p>
        </p:txBody>
      </p:sp>
      <p:sp>
        <p:nvSpPr>
          <p:cNvPr id="61" name="Freeform 60">
            <a:extLst>
              <a:ext uri="{FF2B5EF4-FFF2-40B4-BE49-F238E27FC236}">
                <a16:creationId xmlns:a16="http://schemas.microsoft.com/office/drawing/2014/main" id="{BF1E3154-23CD-9D4A-9429-B3D20217993C}"/>
              </a:ext>
            </a:extLst>
          </p:cNvPr>
          <p:cNvSpPr>
            <a:spLocks noGrp="1"/>
          </p:cNvSpPr>
          <p:nvPr>
            <p:ph type="pic" sz="quarter" idx="102" hasCustomPrompt="1"/>
          </p:nvPr>
        </p:nvSpPr>
        <p:spPr>
          <a:xfrm>
            <a:off x="4708374" y="939470"/>
            <a:ext cx="3681291" cy="2760199"/>
          </a:xfrm>
          <a:custGeom>
            <a:avLst/>
            <a:gdLst>
              <a:gd name="connsiteX0" fmla="*/ 0 w 3681291"/>
              <a:gd name="connsiteY0" fmla="*/ 2756057 h 2760199"/>
              <a:gd name="connsiteX1" fmla="*/ 4142 w 3681291"/>
              <a:gd name="connsiteY1" fmla="*/ 2756057 h 2760199"/>
              <a:gd name="connsiteX2" fmla="*/ 4142 w 3681291"/>
              <a:gd name="connsiteY2" fmla="*/ 2760199 h 2760199"/>
              <a:gd name="connsiteX3" fmla="*/ 0 w 3681291"/>
              <a:gd name="connsiteY3" fmla="*/ 2760199 h 2760199"/>
              <a:gd name="connsiteX4" fmla="*/ 0 w 3681291"/>
              <a:gd name="connsiteY4" fmla="*/ 440325 h 2760199"/>
              <a:gd name="connsiteX5" fmla="*/ 3681291 w 3681291"/>
              <a:gd name="connsiteY5" fmla="*/ 440325 h 2760199"/>
              <a:gd name="connsiteX6" fmla="*/ 3681291 w 3681291"/>
              <a:gd name="connsiteY6" fmla="*/ 2478925 h 2760199"/>
              <a:gd name="connsiteX7" fmla="*/ 0 w 3681291"/>
              <a:gd name="connsiteY7" fmla="*/ 2478925 h 2760199"/>
              <a:gd name="connsiteX8" fmla="*/ 0 w 3681291"/>
              <a:gd name="connsiteY8" fmla="*/ 0 h 2760199"/>
              <a:gd name="connsiteX9" fmla="*/ 4142 w 3681291"/>
              <a:gd name="connsiteY9" fmla="*/ 0 h 2760199"/>
              <a:gd name="connsiteX10" fmla="*/ 4142 w 3681291"/>
              <a:gd name="connsiteY10" fmla="*/ 4143 h 2760199"/>
              <a:gd name="connsiteX11" fmla="*/ 0 w 3681291"/>
              <a:gd name="connsiteY11" fmla="*/ 4143 h 276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1291" h="2760199">
                <a:moveTo>
                  <a:pt x="0" y="2756057"/>
                </a:moveTo>
                <a:lnTo>
                  <a:pt x="4142" y="2756057"/>
                </a:lnTo>
                <a:lnTo>
                  <a:pt x="4142" y="2760199"/>
                </a:lnTo>
                <a:lnTo>
                  <a:pt x="0" y="2760199"/>
                </a:lnTo>
                <a:close/>
                <a:moveTo>
                  <a:pt x="0" y="440325"/>
                </a:moveTo>
                <a:lnTo>
                  <a:pt x="3681291" y="440325"/>
                </a:lnTo>
                <a:lnTo>
                  <a:pt x="3681291" y="2478925"/>
                </a:lnTo>
                <a:lnTo>
                  <a:pt x="0" y="2478925"/>
                </a:lnTo>
                <a:close/>
                <a:moveTo>
                  <a:pt x="0" y="0"/>
                </a:moveTo>
                <a:lnTo>
                  <a:pt x="4142" y="0"/>
                </a:lnTo>
                <a:lnTo>
                  <a:pt x="4142" y="4143"/>
                </a:lnTo>
                <a:lnTo>
                  <a:pt x="0" y="4143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bIns="900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pre-designed</a:t>
            </a:r>
            <a:br>
              <a:rPr lang="en-US" dirty="0"/>
            </a:br>
            <a:r>
              <a:rPr lang="en-US" dirty="0"/>
              <a:t>ranking graphic</a:t>
            </a:r>
          </a:p>
        </p:txBody>
      </p:sp>
      <p:sp>
        <p:nvSpPr>
          <p:cNvPr id="62" name="Freeform 61">
            <a:extLst>
              <a:ext uri="{FF2B5EF4-FFF2-40B4-BE49-F238E27FC236}">
                <a16:creationId xmlns:a16="http://schemas.microsoft.com/office/drawing/2014/main" id="{FF6A229A-95CC-4546-92E9-8BEC486139C2}"/>
              </a:ext>
            </a:extLst>
          </p:cNvPr>
          <p:cNvSpPr>
            <a:spLocks noGrp="1"/>
          </p:cNvSpPr>
          <p:nvPr>
            <p:ph type="pic" sz="quarter" idx="101" hasCustomPrompt="1"/>
          </p:nvPr>
        </p:nvSpPr>
        <p:spPr>
          <a:xfrm>
            <a:off x="431782" y="3403915"/>
            <a:ext cx="3681291" cy="2760199"/>
          </a:xfrm>
          <a:custGeom>
            <a:avLst/>
            <a:gdLst>
              <a:gd name="connsiteX0" fmla="*/ 0 w 3681291"/>
              <a:gd name="connsiteY0" fmla="*/ 2756057 h 2760199"/>
              <a:gd name="connsiteX1" fmla="*/ 4143 w 3681291"/>
              <a:gd name="connsiteY1" fmla="*/ 2756057 h 2760199"/>
              <a:gd name="connsiteX2" fmla="*/ 4143 w 3681291"/>
              <a:gd name="connsiteY2" fmla="*/ 2760199 h 2760199"/>
              <a:gd name="connsiteX3" fmla="*/ 0 w 3681291"/>
              <a:gd name="connsiteY3" fmla="*/ 2760199 h 2760199"/>
              <a:gd name="connsiteX4" fmla="*/ 0 w 3681291"/>
              <a:gd name="connsiteY4" fmla="*/ 440325 h 2760199"/>
              <a:gd name="connsiteX5" fmla="*/ 3681291 w 3681291"/>
              <a:gd name="connsiteY5" fmla="*/ 440325 h 2760199"/>
              <a:gd name="connsiteX6" fmla="*/ 3681291 w 3681291"/>
              <a:gd name="connsiteY6" fmla="*/ 2478925 h 2760199"/>
              <a:gd name="connsiteX7" fmla="*/ 0 w 3681291"/>
              <a:gd name="connsiteY7" fmla="*/ 2478925 h 2760199"/>
              <a:gd name="connsiteX8" fmla="*/ 0 w 3681291"/>
              <a:gd name="connsiteY8" fmla="*/ 0 h 2760199"/>
              <a:gd name="connsiteX9" fmla="*/ 4143 w 3681291"/>
              <a:gd name="connsiteY9" fmla="*/ 0 h 2760199"/>
              <a:gd name="connsiteX10" fmla="*/ 4143 w 3681291"/>
              <a:gd name="connsiteY10" fmla="*/ 4142 h 2760199"/>
              <a:gd name="connsiteX11" fmla="*/ 0 w 3681291"/>
              <a:gd name="connsiteY11" fmla="*/ 4142 h 276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1291" h="2760199">
                <a:moveTo>
                  <a:pt x="0" y="2756057"/>
                </a:moveTo>
                <a:lnTo>
                  <a:pt x="4143" y="2756057"/>
                </a:lnTo>
                <a:lnTo>
                  <a:pt x="4143" y="2760199"/>
                </a:lnTo>
                <a:lnTo>
                  <a:pt x="0" y="2760199"/>
                </a:lnTo>
                <a:close/>
                <a:moveTo>
                  <a:pt x="0" y="440325"/>
                </a:moveTo>
                <a:lnTo>
                  <a:pt x="3681291" y="440325"/>
                </a:lnTo>
                <a:lnTo>
                  <a:pt x="3681291" y="2478925"/>
                </a:lnTo>
                <a:lnTo>
                  <a:pt x="0" y="2478925"/>
                </a:lnTo>
                <a:close/>
                <a:moveTo>
                  <a:pt x="0" y="0"/>
                </a:moveTo>
                <a:lnTo>
                  <a:pt x="4143" y="0"/>
                </a:lnTo>
                <a:lnTo>
                  <a:pt x="4143" y="4142"/>
                </a:lnTo>
                <a:lnTo>
                  <a:pt x="0" y="4142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bIns="900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pre-designed</a:t>
            </a:r>
            <a:br>
              <a:rPr lang="en-US" dirty="0"/>
            </a:br>
            <a:r>
              <a:rPr lang="en-US" dirty="0"/>
              <a:t>ranking graphic</a:t>
            </a:r>
          </a:p>
        </p:txBody>
      </p:sp>
      <p:sp>
        <p:nvSpPr>
          <p:cNvPr id="63" name="Freeform 62">
            <a:extLst>
              <a:ext uri="{FF2B5EF4-FFF2-40B4-BE49-F238E27FC236}">
                <a16:creationId xmlns:a16="http://schemas.microsoft.com/office/drawing/2014/main" id="{E1B6409D-D1DD-2941-8A39-63C9D178D519}"/>
              </a:ext>
            </a:extLst>
          </p:cNvPr>
          <p:cNvSpPr>
            <a:spLocks noGrp="1"/>
          </p:cNvSpPr>
          <p:nvPr>
            <p:ph type="pic" sz="quarter" idx="103" hasCustomPrompt="1"/>
          </p:nvPr>
        </p:nvSpPr>
        <p:spPr>
          <a:xfrm>
            <a:off x="4708374" y="3403915"/>
            <a:ext cx="3681291" cy="2760199"/>
          </a:xfrm>
          <a:custGeom>
            <a:avLst/>
            <a:gdLst>
              <a:gd name="connsiteX0" fmla="*/ 0 w 3681291"/>
              <a:gd name="connsiteY0" fmla="*/ 2756057 h 2760199"/>
              <a:gd name="connsiteX1" fmla="*/ 4142 w 3681291"/>
              <a:gd name="connsiteY1" fmla="*/ 2756057 h 2760199"/>
              <a:gd name="connsiteX2" fmla="*/ 4142 w 3681291"/>
              <a:gd name="connsiteY2" fmla="*/ 2760199 h 2760199"/>
              <a:gd name="connsiteX3" fmla="*/ 0 w 3681291"/>
              <a:gd name="connsiteY3" fmla="*/ 2760199 h 2760199"/>
              <a:gd name="connsiteX4" fmla="*/ 0 w 3681291"/>
              <a:gd name="connsiteY4" fmla="*/ 440325 h 2760199"/>
              <a:gd name="connsiteX5" fmla="*/ 3681291 w 3681291"/>
              <a:gd name="connsiteY5" fmla="*/ 440325 h 2760199"/>
              <a:gd name="connsiteX6" fmla="*/ 3681291 w 3681291"/>
              <a:gd name="connsiteY6" fmla="*/ 2478925 h 2760199"/>
              <a:gd name="connsiteX7" fmla="*/ 0 w 3681291"/>
              <a:gd name="connsiteY7" fmla="*/ 2478925 h 2760199"/>
              <a:gd name="connsiteX8" fmla="*/ 0 w 3681291"/>
              <a:gd name="connsiteY8" fmla="*/ 0 h 2760199"/>
              <a:gd name="connsiteX9" fmla="*/ 4142 w 3681291"/>
              <a:gd name="connsiteY9" fmla="*/ 0 h 2760199"/>
              <a:gd name="connsiteX10" fmla="*/ 4142 w 3681291"/>
              <a:gd name="connsiteY10" fmla="*/ 4142 h 2760199"/>
              <a:gd name="connsiteX11" fmla="*/ 0 w 3681291"/>
              <a:gd name="connsiteY11" fmla="*/ 4142 h 276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681291" h="2760199">
                <a:moveTo>
                  <a:pt x="0" y="2756057"/>
                </a:moveTo>
                <a:lnTo>
                  <a:pt x="4142" y="2756057"/>
                </a:lnTo>
                <a:lnTo>
                  <a:pt x="4142" y="2760199"/>
                </a:lnTo>
                <a:lnTo>
                  <a:pt x="0" y="2760199"/>
                </a:lnTo>
                <a:close/>
                <a:moveTo>
                  <a:pt x="0" y="440325"/>
                </a:moveTo>
                <a:lnTo>
                  <a:pt x="3681291" y="440325"/>
                </a:lnTo>
                <a:lnTo>
                  <a:pt x="3681291" y="2478925"/>
                </a:lnTo>
                <a:lnTo>
                  <a:pt x="0" y="2478925"/>
                </a:lnTo>
                <a:close/>
                <a:moveTo>
                  <a:pt x="0" y="0"/>
                </a:moveTo>
                <a:lnTo>
                  <a:pt x="4142" y="0"/>
                </a:lnTo>
                <a:lnTo>
                  <a:pt x="4142" y="4142"/>
                </a:lnTo>
                <a:lnTo>
                  <a:pt x="0" y="4142"/>
                </a:lnTo>
                <a:close/>
              </a:path>
            </a:pathLst>
          </a:custGeom>
          <a:solidFill>
            <a:srgbClr val="E8F3FD"/>
          </a:solidFill>
        </p:spPr>
        <p:txBody>
          <a:bodyPr wrap="square" bIns="900000" anchor="ctr">
            <a:noAutofit/>
          </a:bodyPr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pre-designed</a:t>
            </a:r>
            <a:br>
              <a:rPr lang="en-US" dirty="0"/>
            </a:br>
            <a:r>
              <a:rPr lang="en-US" dirty="0"/>
              <a:t>ranking graphic</a:t>
            </a:r>
          </a:p>
        </p:txBody>
      </p:sp>
    </p:spTree>
    <p:extLst>
      <p:ext uri="{BB962C8B-B14F-4D97-AF65-F5344CB8AC3E}">
        <p14:creationId xmlns:p14="http://schemas.microsoft.com/office/powerpoint/2010/main" val="24481479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Supporting Graphic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986F40DB-9C90-0445-8B56-2AB71F39075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03522" y="3159427"/>
            <a:ext cx="4008678" cy="3006424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supporting</a:t>
            </a:r>
            <a:br>
              <a:rPr lang="en-US" dirty="0"/>
            </a:br>
            <a:r>
              <a:rPr lang="en-US" dirty="0"/>
              <a:t>graphic from the MRD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C191A018-C105-424B-88DC-E4B2664039C3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E70A2B7-CE2A-ED43-A309-9210649F358A}"/>
              </a:ext>
            </a:extLst>
          </p:cNvPr>
          <p:cNvSpPr>
            <a:spLocks noGrp="1"/>
          </p:cNvSpPr>
          <p:nvPr userDrawn="1"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D578981-DF62-9545-86D9-D47CA9B9AE76}"/>
              </a:ext>
            </a:extLst>
          </p:cNvPr>
          <p:cNvSpPr>
            <a:spLocks noGrp="1"/>
          </p:cNvSpPr>
          <p:nvPr userDrawn="1"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5" name="Slide Number Placeholder 34">
            <a:extLst>
              <a:ext uri="{FF2B5EF4-FFF2-40B4-BE49-F238E27FC236}">
                <a16:creationId xmlns:a16="http://schemas.microsoft.com/office/drawing/2014/main" id="{375449F1-602A-F648-BB75-81B7431F974E}"/>
              </a:ext>
            </a:extLst>
          </p:cNvPr>
          <p:cNvSpPr>
            <a:spLocks noGrp="1"/>
          </p:cNvSpPr>
          <p:nvPr userDrawn="1">
            <p:ph type="sldNum" sz="quarter" idx="10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32E619A7-2AA9-834A-95F7-C8972C8CA24E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>
          <a:xfrm>
            <a:off x="431800" y="1233489"/>
            <a:ext cx="4010400" cy="4932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3" name="Text Placeholder 51">
            <a:extLst>
              <a:ext uri="{FF2B5EF4-FFF2-40B4-BE49-F238E27FC236}">
                <a16:creationId xmlns:a16="http://schemas.microsoft.com/office/drawing/2014/main" id="{B3C16F4A-5C29-7D42-B44A-AE0870C22033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>
          <a:xfrm>
            <a:off x="4701800" y="1233489"/>
            <a:ext cx="4010400" cy="17319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39DA4F8-9BFA-1543-833F-C395E53F03C5}"/>
              </a:ext>
            </a:extLst>
          </p:cNvPr>
          <p:cNvGrpSpPr/>
          <p:nvPr userDrawn="1"/>
        </p:nvGrpSpPr>
        <p:grpSpPr>
          <a:xfrm>
            <a:off x="9399182" y="-2"/>
            <a:ext cx="2974470" cy="9769405"/>
            <a:chOff x="9399182" y="-2"/>
            <a:chExt cx="2974470" cy="9769405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6B93FAD8-1ABE-8A4B-99DB-5688A1F2FCF4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9A844FD7-28C9-684C-8754-5CC8523344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755AFA76-AD18-3D47-851A-F91F6F1DD6C4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C097B3FB-898A-AC42-B3E4-F5A08355AA01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B57B4B0D-B8A6-3741-B898-3B5B9621F809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25" name="Picture 124">
                <a:extLst>
                  <a:ext uri="{FF2B5EF4-FFF2-40B4-BE49-F238E27FC236}">
                    <a16:creationId xmlns:a16="http://schemas.microsoft.com/office/drawing/2014/main" id="{E334168C-A1EA-0045-904E-AD3D885667B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6AC4EB5C-A373-3142-A895-73AFE767A8C7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CEA72FE0-5163-5647-91EF-188D43828BD3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3870F40-EB02-D74F-9098-6F2F12C985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8AE3F8FE-C399-5943-9055-76BEAA6F1E25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4F7E5367-61BA-0844-A18D-6E243A611B23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B7AB5EF7-7C57-6842-8895-9E22B85B7ACE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73AAC846-7BFB-DA44-8D2C-ECB3087FB0D7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19" name="Graphic 118">
                  <a:extLst>
                    <a:ext uri="{FF2B5EF4-FFF2-40B4-BE49-F238E27FC236}">
                      <a16:creationId xmlns:a16="http://schemas.microsoft.com/office/drawing/2014/main" id="{3D419284-D2BF-524C-9A3C-343AEBFCB80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ACB24C4B-2C93-3D41-91B0-90484A6DE11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6DC0F23D-3334-F945-BE8F-138CCFB269C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DF879D9E-3B5F-5346-BC23-2A7421B948C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806D7B6A-4525-CB4E-BEDE-27DFFFC9F273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3112B5BF-3EA7-EA4E-9AAA-8D3A2CCACF6E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2" name="TextBox 81">
                  <a:extLst>
                    <a:ext uri="{FF2B5EF4-FFF2-40B4-BE49-F238E27FC236}">
                      <a16:creationId xmlns:a16="http://schemas.microsoft.com/office/drawing/2014/main" id="{86F17A0C-8BDE-2B4F-8AFF-BF237CA89922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83" name="Graphic 82">
                  <a:extLst>
                    <a:ext uri="{FF2B5EF4-FFF2-40B4-BE49-F238E27FC236}">
                      <a16:creationId xmlns:a16="http://schemas.microsoft.com/office/drawing/2014/main" id="{E28C0A14-C0E0-DB4A-8A0E-0D823458A51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4FEAEE44-7C52-1F4B-A920-A8BD040EFC7B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85" name="Picture 84">
                  <a:extLst>
                    <a:ext uri="{FF2B5EF4-FFF2-40B4-BE49-F238E27FC236}">
                      <a16:creationId xmlns:a16="http://schemas.microsoft.com/office/drawing/2014/main" id="{61D39635-4EFC-EB4F-A621-556285D7CB3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CE30F03-6ECE-1648-965A-6C4E47AAC40C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1BFE1CF6-1371-7949-8C81-E85AE3364C65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E7065FCA-7D52-954D-951B-AFFF617AC363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0" name="TextBox 79">
                  <a:extLst>
                    <a:ext uri="{FF2B5EF4-FFF2-40B4-BE49-F238E27FC236}">
                      <a16:creationId xmlns:a16="http://schemas.microsoft.com/office/drawing/2014/main" id="{9F81720C-5B88-6747-92DE-B4CC8D593A59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C66E677C-F59F-234E-94B8-5E68549A3A91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CA900B32-800E-3A4E-AD5E-D6F78E897FB7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4C3215A6-2653-8046-96BD-835DEB1396EC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4C82AA2D-B8C0-024B-860E-F3632B97576C}"/>
                  </a:ext>
                </a:extLst>
              </p:cNvPr>
              <p:cNvSpPr txBox="1"/>
              <p:nvPr userDrawn="1"/>
            </p:nvSpPr>
            <p:spPr>
              <a:xfrm>
                <a:off x="9674267" y="547643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70B81F6-838F-D747-95BA-4C229DAF5126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CB220E15-3482-4F41-A26F-2953EA355B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15E1C38-696D-EF44-A4BC-68688B6A2140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BA17E685-1C3A-5D40-866A-F707A720ED89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63" name="Group 62">
                  <a:extLst>
                    <a:ext uri="{FF2B5EF4-FFF2-40B4-BE49-F238E27FC236}">
                      <a16:creationId xmlns:a16="http://schemas.microsoft.com/office/drawing/2014/main" id="{708B5411-EB9C-DE44-A78A-CB78C658CE4F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65" name="Rectangle 64">
                    <a:extLst>
                      <a:ext uri="{FF2B5EF4-FFF2-40B4-BE49-F238E27FC236}">
                        <a16:creationId xmlns:a16="http://schemas.microsoft.com/office/drawing/2014/main" id="{100AB9A3-51FF-BC40-B7CC-8EE421C3F66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6" name="TextBox 65">
                    <a:extLst>
                      <a:ext uri="{FF2B5EF4-FFF2-40B4-BE49-F238E27FC236}">
                        <a16:creationId xmlns:a16="http://schemas.microsoft.com/office/drawing/2014/main" id="{2C58CAD7-CFE6-3E47-9821-B56722BF047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27700D65-D0AA-CC46-A945-F26784AD6A6A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64" name="Graphic 63">
                  <a:extLst>
                    <a:ext uri="{FF2B5EF4-FFF2-40B4-BE49-F238E27FC236}">
                      <a16:creationId xmlns:a16="http://schemas.microsoft.com/office/drawing/2014/main" id="{C2A770D0-9E7E-A948-806C-6BFD3E5A41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8385943A-95B3-1445-B5C9-27F30D8DF83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8373173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Supporting Graphic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986F40DB-9C90-0445-8B56-2AB71F39075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3522" y="1233488"/>
            <a:ext cx="4008678" cy="3006424"/>
          </a:xfrm>
          <a:solidFill>
            <a:srgbClr val="E8F3FD"/>
          </a:solidFill>
        </p:spPr>
        <p:txBody>
          <a:bodyPr anchor="ctr"/>
          <a:lstStyle>
            <a:lvl1pPr algn="ctr">
              <a:defRPr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a supporting</a:t>
            </a:r>
            <a:br>
              <a:rPr lang="en-US" dirty="0"/>
            </a:br>
            <a:r>
              <a:rPr lang="en-US" dirty="0"/>
              <a:t>graphic from the MRD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8A77B1E8-8952-D848-91B2-927E1D27FF9C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245AA9-9EB0-A44D-9F6A-AE5544DD7AF4}"/>
              </a:ext>
            </a:extLst>
          </p:cNvPr>
          <p:cNvSpPr>
            <a:spLocks noGrp="1"/>
          </p:cNvSpPr>
          <p:nvPr>
            <p:ph type="dt" sz="half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076AD30-9E9D-AD46-8DB1-E1FA38235D98}"/>
              </a:ext>
            </a:extLst>
          </p:cNvPr>
          <p:cNvSpPr>
            <a:spLocks noGrp="1"/>
          </p:cNvSpPr>
          <p:nvPr>
            <p:ph type="ftr" sz="quarter" idx="10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1D4FA9-B8EC-024E-9A3B-D9D5C8888BDC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83" name="Text Placeholder 51">
            <a:extLst>
              <a:ext uri="{FF2B5EF4-FFF2-40B4-BE49-F238E27FC236}">
                <a16:creationId xmlns:a16="http://schemas.microsoft.com/office/drawing/2014/main" id="{9F65596F-ECB2-1345-91E2-F5F3E3B039BA}"/>
              </a:ext>
            </a:extLst>
          </p:cNvPr>
          <p:cNvSpPr>
            <a:spLocks noGrp="1"/>
          </p:cNvSpPr>
          <p:nvPr>
            <p:ph type="body" sz="quarter" idx="109"/>
          </p:nvPr>
        </p:nvSpPr>
        <p:spPr>
          <a:xfrm>
            <a:off x="431800" y="4426721"/>
            <a:ext cx="4010400" cy="1738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4" name="Text Placeholder 51">
            <a:extLst>
              <a:ext uri="{FF2B5EF4-FFF2-40B4-BE49-F238E27FC236}">
                <a16:creationId xmlns:a16="http://schemas.microsoft.com/office/drawing/2014/main" id="{7E8C46CA-959B-CA4A-8775-B431C35E84F3}"/>
              </a:ext>
            </a:extLst>
          </p:cNvPr>
          <p:cNvSpPr>
            <a:spLocks noGrp="1"/>
          </p:cNvSpPr>
          <p:nvPr>
            <p:ph type="body" sz="quarter" idx="110"/>
          </p:nvPr>
        </p:nvSpPr>
        <p:spPr>
          <a:xfrm>
            <a:off x="4701800" y="1233488"/>
            <a:ext cx="4010400" cy="4932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C6A50FF-7566-1649-8705-A39247ECBA70}"/>
              </a:ext>
            </a:extLst>
          </p:cNvPr>
          <p:cNvGrpSpPr/>
          <p:nvPr userDrawn="1"/>
        </p:nvGrpSpPr>
        <p:grpSpPr>
          <a:xfrm>
            <a:off x="9399182" y="-2"/>
            <a:ext cx="2974470" cy="9769405"/>
            <a:chOff x="9399182" y="-2"/>
            <a:chExt cx="2974470" cy="9769405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5924230-3214-F841-925E-C150247BC60C}"/>
                </a:ext>
              </a:extLst>
            </p:cNvPr>
            <p:cNvSpPr/>
            <p:nvPr userDrawn="1"/>
          </p:nvSpPr>
          <p:spPr>
            <a:xfrm>
              <a:off x="9399182" y="-2"/>
              <a:ext cx="2798651" cy="9655033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F7C92D88-EA4F-DF4B-B033-7E4AA28E42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1694"/>
            <a:stretch/>
          </p:blipFill>
          <p:spPr>
            <a:xfrm>
              <a:off x="9558506" y="1322104"/>
              <a:ext cx="2639328" cy="995540"/>
            </a:xfrm>
            <a:prstGeom prst="rect">
              <a:avLst/>
            </a:prstGeom>
          </p:spPr>
        </p:pic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EA037373-1C4C-FB46-A237-6166750D09B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6A89438A-C37A-8241-BE0E-FCBC1E6AC75D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150A96AB-ACCE-A84E-9E34-865BB0CDBC63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25" name="Picture 124">
                <a:extLst>
                  <a:ext uri="{FF2B5EF4-FFF2-40B4-BE49-F238E27FC236}">
                    <a16:creationId xmlns:a16="http://schemas.microsoft.com/office/drawing/2014/main" id="{80A686FA-35D4-E54F-84D1-E5A1C088C2E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B49B299-27B8-0543-B955-B39AD77B717C}"/>
                </a:ext>
              </a:extLst>
            </p:cNvPr>
            <p:cNvGrpSpPr/>
            <p:nvPr userDrawn="1"/>
          </p:nvGrpSpPr>
          <p:grpSpPr>
            <a:xfrm>
              <a:off x="9521833" y="3755578"/>
              <a:ext cx="2754815" cy="6013825"/>
              <a:chOff x="9521833" y="2566288"/>
              <a:chExt cx="2754815" cy="6013825"/>
            </a:xfrm>
          </p:grpSpPr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2AF2070A-EFB0-8148-9A83-076562E3FA5D}"/>
                  </a:ext>
                </a:extLst>
              </p:cNvPr>
              <p:cNvSpPr txBox="1"/>
              <p:nvPr userDrawn="1"/>
            </p:nvSpPr>
            <p:spPr>
              <a:xfrm>
                <a:off x="9558507" y="256628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BFFB8F6D-33C7-B84A-8C53-1C8BCABB33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76890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442299A1-A12A-4648-BADF-C112B5112970}"/>
                  </a:ext>
                </a:extLst>
              </p:cNvPr>
              <p:cNvSpPr txBox="1"/>
              <p:nvPr userDrawn="1"/>
            </p:nvSpPr>
            <p:spPr>
              <a:xfrm>
                <a:off x="9686426" y="362721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FB2A614A-0DFB-1746-9449-BC673274DC69}"/>
                  </a:ext>
                </a:extLst>
              </p:cNvPr>
              <p:cNvGrpSpPr/>
              <p:nvPr userDrawn="1"/>
            </p:nvGrpSpPr>
            <p:grpSpPr>
              <a:xfrm>
                <a:off x="9541497" y="7168798"/>
                <a:ext cx="2735151" cy="1411315"/>
                <a:chOff x="9296567" y="4910411"/>
                <a:chExt cx="2735151" cy="1411315"/>
              </a:xfrm>
            </p:grpSpPr>
            <p:sp>
              <p:nvSpPr>
                <p:cNvPr id="82" name="Rectangle 81">
                  <a:extLst>
                    <a:ext uri="{FF2B5EF4-FFF2-40B4-BE49-F238E27FC236}">
                      <a16:creationId xmlns:a16="http://schemas.microsoft.com/office/drawing/2014/main" id="{08B2DC79-72E8-F448-B26F-22C25E78DE4E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4113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8" name="TextBox 117">
                  <a:extLst>
                    <a:ext uri="{FF2B5EF4-FFF2-40B4-BE49-F238E27FC236}">
                      <a16:creationId xmlns:a16="http://schemas.microsoft.com/office/drawing/2014/main" id="{A012B685-7A1B-EE4A-B48C-476DD149037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19" name="Graphic 118">
                  <a:extLst>
                    <a:ext uri="{FF2B5EF4-FFF2-40B4-BE49-F238E27FC236}">
                      <a16:creationId xmlns:a16="http://schemas.microsoft.com/office/drawing/2014/main" id="{E42684EA-260D-FE4C-9DB5-ABC6A5EA89A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20" name="TextBox 119">
                  <a:extLst>
                    <a:ext uri="{FF2B5EF4-FFF2-40B4-BE49-F238E27FC236}">
                      <a16:creationId xmlns:a16="http://schemas.microsoft.com/office/drawing/2014/main" id="{229045D4-3E64-B747-9B77-8324211D1AB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21" name="TextBox 120">
                  <a:extLst>
                    <a:ext uri="{FF2B5EF4-FFF2-40B4-BE49-F238E27FC236}">
                      <a16:creationId xmlns:a16="http://schemas.microsoft.com/office/drawing/2014/main" id="{7C8C5E78-2D68-0F4A-9771-9A181870404F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72ACF7AE-340C-034B-A293-B81D7EDAC4B4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68871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9D428D69-5C21-954F-AAA0-6C95377428A6}"/>
                  </a:ext>
                </a:extLst>
              </p:cNvPr>
              <p:cNvGrpSpPr/>
              <p:nvPr userDrawn="1"/>
            </p:nvGrpSpPr>
            <p:grpSpPr>
              <a:xfrm>
                <a:off x="9541497" y="581214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D2A8D114-EB36-D047-9E19-6917F77AB8AC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DE249B37-1CBD-DE4C-B078-D171107C8DFB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79" name="Graphic 78">
                  <a:extLst>
                    <a:ext uri="{FF2B5EF4-FFF2-40B4-BE49-F238E27FC236}">
                      <a16:creationId xmlns:a16="http://schemas.microsoft.com/office/drawing/2014/main" id="{D9DC4789-EC3A-3C48-88CF-5B84FF620F3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0" name="TextBox 79">
                  <a:extLst>
                    <a:ext uri="{FF2B5EF4-FFF2-40B4-BE49-F238E27FC236}">
                      <a16:creationId xmlns:a16="http://schemas.microsoft.com/office/drawing/2014/main" id="{BC49CB42-C3B5-5841-B879-851F9C7EEA36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628F206A-7D04-EF40-9861-84678517D248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A490542C-8DFC-5548-AE6A-63B1D2808097}"/>
                  </a:ext>
                </a:extLst>
              </p:cNvPr>
              <p:cNvGrpSpPr/>
              <p:nvPr userDrawn="1"/>
            </p:nvGrpSpPr>
            <p:grpSpPr>
              <a:xfrm>
                <a:off x="9521833" y="289140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0FAFBA51-3305-F345-92BD-B46BA279BA27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768B0866-9666-5048-A6BD-3E4EE1D31D8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76" name="TextBox 75">
                  <a:extLst>
                    <a:ext uri="{FF2B5EF4-FFF2-40B4-BE49-F238E27FC236}">
                      <a16:creationId xmlns:a16="http://schemas.microsoft.com/office/drawing/2014/main" id="{2FDB09E1-182B-8C41-A90D-675C6F64D427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D485FD98-7EF6-A54D-9C57-9E702C04A959}"/>
                  </a:ext>
                </a:extLst>
              </p:cNvPr>
              <p:cNvSpPr txBox="1"/>
              <p:nvPr userDrawn="1"/>
            </p:nvSpPr>
            <p:spPr>
              <a:xfrm>
                <a:off x="9674267" y="391052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7E809D7-903C-6E4C-9509-800D999D8BEB}"/>
                  </a:ext>
                </a:extLst>
              </p:cNvPr>
              <p:cNvSpPr txBox="1"/>
              <p:nvPr userDrawn="1"/>
            </p:nvSpPr>
            <p:spPr>
              <a:xfrm>
                <a:off x="9686426" y="432577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7653C300-7116-984F-AC25-FE91A768367E}"/>
                  </a:ext>
                </a:extLst>
              </p:cNvPr>
              <p:cNvSpPr txBox="1"/>
              <p:nvPr userDrawn="1"/>
            </p:nvSpPr>
            <p:spPr>
              <a:xfrm>
                <a:off x="9686426" y="504586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348DD668-2F25-B14F-B0EB-7BBC3FE735D6}"/>
                  </a:ext>
                </a:extLst>
              </p:cNvPr>
              <p:cNvSpPr txBox="1"/>
              <p:nvPr userDrawn="1"/>
            </p:nvSpPr>
            <p:spPr>
              <a:xfrm>
                <a:off x="9674267" y="547643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38C3867-F18E-4D46-9E21-2FC7FF845627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D4325D9-7389-094C-A2CF-5C5323B352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EAA9040-CF51-8F4A-A448-164422E39F10}"/>
                </a:ext>
              </a:extLst>
            </p:cNvPr>
            <p:cNvGrpSpPr/>
            <p:nvPr userDrawn="1"/>
          </p:nvGrpSpPr>
          <p:grpSpPr>
            <a:xfrm>
              <a:off x="9554253" y="2414886"/>
              <a:ext cx="2819399" cy="1181890"/>
              <a:chOff x="9541498" y="3352649"/>
              <a:chExt cx="2819399" cy="1181890"/>
            </a:xfrm>
          </p:grpSpPr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71989BAA-BA51-5B43-B478-80240E70B031}"/>
                  </a:ext>
                </a:extLst>
              </p:cNvPr>
              <p:cNvGrpSpPr/>
              <p:nvPr userDrawn="1"/>
            </p:nvGrpSpPr>
            <p:grpSpPr>
              <a:xfrm>
                <a:off x="9541498" y="3352649"/>
                <a:ext cx="2735150" cy="1181890"/>
                <a:chOff x="9541498" y="3751132"/>
                <a:chExt cx="2735150" cy="1181890"/>
              </a:xfrm>
            </p:grpSpPr>
            <p:grpSp>
              <p:nvGrpSpPr>
                <p:cNvPr id="59" name="Group 58">
                  <a:extLst>
                    <a:ext uri="{FF2B5EF4-FFF2-40B4-BE49-F238E27FC236}">
                      <a16:creationId xmlns:a16="http://schemas.microsoft.com/office/drawing/2014/main" id="{1F0DB689-2380-EE49-8628-14383AA33533}"/>
                    </a:ext>
                  </a:extLst>
                </p:cNvPr>
                <p:cNvGrpSpPr/>
                <p:nvPr userDrawn="1"/>
              </p:nvGrpSpPr>
              <p:grpSpPr>
                <a:xfrm>
                  <a:off x="9541498" y="3751132"/>
                  <a:ext cx="2735150" cy="1181890"/>
                  <a:chOff x="9296568" y="4910411"/>
                  <a:chExt cx="2735150" cy="1181890"/>
                </a:xfrm>
              </p:grpSpPr>
              <p:sp>
                <p:nvSpPr>
                  <p:cNvPr id="61" name="Rectangle 60">
                    <a:extLst>
                      <a:ext uri="{FF2B5EF4-FFF2-40B4-BE49-F238E27FC236}">
                        <a16:creationId xmlns:a16="http://schemas.microsoft.com/office/drawing/2014/main" id="{0C31B8AD-3259-0E4D-B7B9-A1BED543161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9296568" y="4910411"/>
                    <a:ext cx="2735150" cy="1181890"/>
                  </a:xfrm>
                  <a:prstGeom prst="rect">
                    <a:avLst/>
                  </a:prstGeom>
                  <a:solidFill>
                    <a:srgbClr val="FFFADF"/>
                  </a:solidFill>
                  <a:ln w="25400">
                    <a:solidFill>
                      <a:schemeClr val="tx1">
                        <a:lumMod val="65000"/>
                        <a:lumOff val="3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2" name="TextBox 61">
                    <a:extLst>
                      <a:ext uri="{FF2B5EF4-FFF2-40B4-BE49-F238E27FC236}">
                        <a16:creationId xmlns:a16="http://schemas.microsoft.com/office/drawing/2014/main" id="{79D5AE7D-A300-E04A-8178-CEFBFD6B3695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662758" y="5046087"/>
                    <a:ext cx="2211394" cy="16927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 algn="l"/>
                    <a:r>
                      <a:rPr lang="en-US" sz="1100" dirty="0">
                        <a:solidFill>
                          <a:schemeClr val="accent2"/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Numbered lists</a:t>
                    </a:r>
                  </a:p>
                </p:txBody>
              </p:sp>
              <p:sp>
                <p:nvSpPr>
                  <p:cNvPr id="63" name="TextBox 62">
                    <a:extLst>
                      <a:ext uri="{FF2B5EF4-FFF2-40B4-BE49-F238E27FC236}">
                        <a16:creationId xmlns:a16="http://schemas.microsoft.com/office/drawing/2014/main" id="{71453D1D-E082-484F-B617-10330BB9C893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9471806" y="5300350"/>
                    <a:ext cx="964050" cy="692497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 anchor="t">
                    <a:spAutoFit/>
                  </a:bodyPr>
                  <a:lstStyle/>
                  <a:p>
                    <a:pPr>
                      <a:spcBef>
                        <a:spcPts val="200"/>
                      </a:spcBef>
                    </a:pPr>
                    <a:r>
                      <a:rPr lang="en-US" sz="9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charset="0"/>
                        <a:ea typeface="Arial" charset="0"/>
                        <a:cs typeface="Arial" charset="0"/>
                      </a:rPr>
                      <a:t>For instruction on formatting numbered lists, see the most up-to-date Asset File.</a:t>
                    </a:r>
                  </a:p>
                </p:txBody>
              </p:sp>
            </p:grpSp>
            <p:pic>
              <p:nvPicPr>
                <p:cNvPr id="60" name="Graphic 59">
                  <a:extLst>
                    <a:ext uri="{FF2B5EF4-FFF2-40B4-BE49-F238E27FC236}">
                      <a16:creationId xmlns:a16="http://schemas.microsoft.com/office/drawing/2014/main" id="{0BFB961E-6B44-4A41-8979-B6EDBFAAEB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86425" y="3891259"/>
                  <a:ext cx="170340" cy="170340"/>
                </a:xfrm>
                <a:prstGeom prst="rect">
                  <a:avLst/>
                </a:prstGeom>
              </p:spPr>
            </p:pic>
          </p:grpSp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983E9B20-7313-604E-8431-234F059880A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r="30584"/>
              <a:stretch/>
            </p:blipFill>
            <p:spPr>
              <a:xfrm>
                <a:off x="10767220" y="3758285"/>
                <a:ext cx="1593677" cy="684608"/>
              </a:xfrm>
              <a:prstGeom prst="rect">
                <a:avLst/>
              </a:prstGeom>
              <a:solidFill>
                <a:srgbClr val="FFFADF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9330756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A1E5E-5092-C14B-BCA7-1CE9980DA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36AF8DC8-87FB-C141-8D83-20DF12993AF5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99" y="6200775"/>
            <a:ext cx="7440613" cy="505508"/>
          </a:xfrm>
        </p:spPr>
        <p:txBody>
          <a:bodyPr bIns="0" anchor="b"/>
          <a:lstStyle>
            <a:lvl1pPr marL="6350" indent="-1588">
              <a:spcBef>
                <a:spcPts val="75"/>
              </a:spcBef>
              <a:spcAft>
                <a:spcPts val="75"/>
              </a:spcAft>
              <a:buSzPct val="100000"/>
              <a:buFontTx/>
              <a:buNone/>
              <a:tabLst/>
              <a:defRPr sz="1100" b="0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source and footnotes. (Level 1 formatting for source, and levels 2+ for footnote numbering.) If over 4 lines, move footnote text to “Footnotes Appendix” slide and write “See Appendix for footnotes #-#” with level 1 formatting.</a:t>
            </a:r>
          </a:p>
          <a:p>
            <a:pPr lvl="1"/>
            <a:r>
              <a:rPr lang="en-US" dirty="0"/>
              <a:t>Footnotes – Levels 2-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932E4D-3BB6-F145-B5C5-AD97EAF75D44}"/>
              </a:ext>
            </a:extLst>
          </p:cNvPr>
          <p:cNvSpPr>
            <a:spLocks noGrp="1"/>
          </p:cNvSpPr>
          <p:nvPr>
            <p:ph type="dt" sz="half" idx="10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7286FE-76E3-3247-ACB0-061B0414E37F}"/>
              </a:ext>
            </a:extLst>
          </p:cNvPr>
          <p:cNvSpPr>
            <a:spLocks noGrp="1"/>
          </p:cNvSpPr>
          <p:nvPr>
            <p:ph type="ftr" sz="quarter" idx="10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7E789D-6D1E-A34E-82C5-72E722D0C6B6}"/>
              </a:ext>
            </a:extLst>
          </p:cNvPr>
          <p:cNvSpPr>
            <a:spLocks noGrp="1"/>
          </p:cNvSpPr>
          <p:nvPr>
            <p:ph type="sldNum" sz="quarter" idx="1003"/>
          </p:nvPr>
        </p:nvSpPr>
        <p:spPr/>
        <p:txBody>
          <a:bodyPr/>
          <a:lstStyle/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8177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notes 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Footnotes Placeholder">
            <a:extLst>
              <a:ext uri="{FF2B5EF4-FFF2-40B4-BE49-F238E27FC236}">
                <a16:creationId xmlns:a16="http://schemas.microsoft.com/office/drawing/2014/main" id="{73A7EDA7-F3CC-FE4B-8FF2-546BF052CA2D}"/>
              </a:ext>
            </a:extLst>
          </p:cNvPr>
          <p:cNvSpPr>
            <a:spLocks noGrp="1"/>
          </p:cNvSpPr>
          <p:nvPr>
            <p:ph type="subTitle" sz="quarter" idx="1000" hasCustomPrompt="1"/>
          </p:nvPr>
        </p:nvSpPr>
        <p:spPr>
          <a:xfrm>
            <a:off x="431782" y="1233488"/>
            <a:ext cx="8280399" cy="4932362"/>
          </a:xfrm>
        </p:spPr>
        <p:txBody>
          <a:bodyPr bIns="0" anchor="t"/>
          <a:lstStyle>
            <a:lvl1pPr marL="6350" indent="-1588">
              <a:spcBef>
                <a:spcPts val="600"/>
              </a:spcBef>
              <a:spcAft>
                <a:spcPts val="75"/>
              </a:spcAft>
              <a:buSzPct val="100000"/>
              <a:buFontTx/>
              <a:buNone/>
              <a:tabLst/>
              <a:defRPr sz="1100" b="1">
                <a:solidFill>
                  <a:schemeClr val="tx1"/>
                </a:solidFill>
              </a:defRPr>
            </a:lvl1pPr>
            <a:lvl2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¹"/>
              <a:tabLst/>
              <a:defRPr sz="1100" b="0" i="0">
                <a:solidFill>
                  <a:schemeClr val="tx1"/>
                </a:solidFill>
              </a:defRPr>
            </a:lvl2pPr>
            <a:lvl3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²"/>
              <a:tabLst/>
              <a:defRPr sz="1100">
                <a:solidFill>
                  <a:schemeClr val="tx1"/>
                </a:solidFill>
              </a:defRPr>
            </a:lvl3pPr>
            <a:lvl4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³"/>
              <a:tabLst/>
              <a:defRPr sz="1100">
                <a:solidFill>
                  <a:schemeClr val="tx1"/>
                </a:solidFill>
              </a:defRPr>
            </a:lvl4pPr>
            <a:lvl5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⁴"/>
              <a:tabLst/>
              <a:defRPr sz="1100">
                <a:solidFill>
                  <a:schemeClr val="tx1"/>
                </a:solidFill>
              </a:defRPr>
            </a:lvl5pPr>
            <a:lvl6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⁵"/>
              <a:tabLst/>
              <a:defRPr sz="1100">
                <a:solidFill>
                  <a:schemeClr val="tx1"/>
                </a:solidFill>
              </a:defRPr>
            </a:lvl6pPr>
            <a:lvl7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⁶"/>
              <a:tabLst/>
              <a:defRPr sz="1100">
                <a:solidFill>
                  <a:schemeClr val="tx1"/>
                </a:solidFill>
              </a:defRPr>
            </a:lvl7pPr>
            <a:lvl8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⁷"/>
              <a:tabLst/>
              <a:defRPr sz="1100">
                <a:solidFill>
                  <a:schemeClr val="tx1"/>
                </a:solidFill>
              </a:defRPr>
            </a:lvl8pPr>
            <a:lvl9pPr marL="55563" indent="-50800">
              <a:spcBef>
                <a:spcPts val="75"/>
              </a:spcBef>
              <a:spcAft>
                <a:spcPts val="75"/>
              </a:spcAft>
              <a:buSzPct val="100000"/>
              <a:buFont typeface="System Font Regular"/>
              <a:buChar char="⁸"/>
              <a:tabLst/>
              <a:defRPr sz="1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page reference. Paste in overflow footnotes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sz="1400" dirty="0">
              <a:latin typeface="Arial" charset="0"/>
              <a:cs typeface="Arial" charset="0"/>
            </a:endParaRPr>
          </a:p>
          <a:p>
            <a:pPr lvl="5"/>
            <a:r>
              <a:rPr lang="en-US" dirty="0">
                <a:latin typeface="Arial" charset="0"/>
                <a:cs typeface="Arial" charset="0"/>
              </a:rPr>
              <a:t>Sixth level</a:t>
            </a:r>
          </a:p>
          <a:p>
            <a:pPr lvl="6"/>
            <a:r>
              <a:rPr lang="en-US" dirty="0">
                <a:latin typeface="Arial" charset="0"/>
                <a:cs typeface="Arial" charset="0"/>
              </a:rPr>
              <a:t>Seventh level</a:t>
            </a:r>
          </a:p>
          <a:p>
            <a:pPr lvl="7"/>
            <a:r>
              <a:rPr lang="en-US" dirty="0">
                <a:latin typeface="Arial" charset="0"/>
                <a:cs typeface="Arial" charset="0"/>
              </a:rPr>
              <a:t>Eighth level</a:t>
            </a:r>
          </a:p>
          <a:p>
            <a:pPr lvl="8"/>
            <a:r>
              <a:rPr lang="en-US" dirty="0">
                <a:latin typeface="Arial" charset="0"/>
                <a:cs typeface="Arial" charset="0"/>
              </a:rPr>
              <a:t>Ninth level</a:t>
            </a:r>
            <a:endParaRPr lang="en-US" dirty="0"/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39E817B6-FF8C-0842-B1E7-3F8A6FA8F66D}"/>
              </a:ext>
            </a:extLst>
          </p:cNvPr>
          <p:cNvSpPr txBox="1">
            <a:spLocks/>
          </p:cNvSpPr>
          <p:nvPr userDrawn="1"/>
        </p:nvSpPr>
        <p:spPr>
          <a:xfrm>
            <a:off x="431800" y="423038"/>
            <a:ext cx="8280400" cy="5673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Appendi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B956B6-5A6C-5D48-9F0C-B94F649F8BBE}"/>
              </a:ext>
            </a:extLst>
          </p:cNvPr>
          <p:cNvSpPr>
            <a:spLocks noGrp="1"/>
          </p:cNvSpPr>
          <p:nvPr>
            <p:ph type="dt" sz="half" idx="10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529702-1F3A-4D45-95E7-B4EE450AA0E0}"/>
              </a:ext>
            </a:extLst>
          </p:cNvPr>
          <p:cNvSpPr>
            <a:spLocks noGrp="1"/>
          </p:cNvSpPr>
          <p:nvPr>
            <p:ph type="ftr" sz="quarter" idx="10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F6F60A-A028-CA43-9F6E-24A771157036}"/>
              </a:ext>
            </a:extLst>
          </p:cNvPr>
          <p:cNvSpPr>
            <a:spLocks noGrp="1"/>
          </p:cNvSpPr>
          <p:nvPr>
            <p:ph type="sldNum" sz="quarter" idx="103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04D1EDF-2467-804A-B15C-D4504AFFEBB6}"/>
              </a:ext>
            </a:extLst>
          </p:cNvPr>
          <p:cNvGrpSpPr/>
          <p:nvPr userDrawn="1"/>
        </p:nvGrpSpPr>
        <p:grpSpPr>
          <a:xfrm>
            <a:off x="9399182" y="-1"/>
            <a:ext cx="2961715" cy="6858001"/>
            <a:chOff x="9399182" y="-1"/>
            <a:chExt cx="2961715" cy="685800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450A66C-4EFE-574E-8105-8F19294291C0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8CFE866E-1B7C-B841-9874-F39026C7B1D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-1" t="-1" r="57393" b="1331"/>
            <a:stretch/>
          </p:blipFill>
          <p:spPr>
            <a:xfrm>
              <a:off x="9558505" y="1322104"/>
              <a:ext cx="2631977" cy="1346819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FFEF678-A102-7F4F-AA3B-CD00034E1645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5897A035-D50A-9E4B-AC4B-7F127F053054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80017FBF-C159-274E-A045-C7FE28DD4891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E92D98F1-AA3C-ED4D-9D08-7B7F95CAA93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3F2733A-C19B-3340-8146-DE69DD441B5E}"/>
                </a:ext>
              </a:extLst>
            </p:cNvPr>
            <p:cNvGrpSpPr/>
            <p:nvPr userDrawn="1"/>
          </p:nvGrpSpPr>
          <p:grpSpPr>
            <a:xfrm>
              <a:off x="9558507" y="1119891"/>
              <a:ext cx="2639328" cy="202617"/>
              <a:chOff x="9303325" y="149270"/>
              <a:chExt cx="2639328" cy="202617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79CF978-B72A-C545-9B0B-E904D2B4E054}"/>
                  </a:ext>
                </a:extLst>
              </p:cNvPr>
              <p:cNvSpPr txBox="1"/>
              <p:nvPr userDrawn="1"/>
            </p:nvSpPr>
            <p:spPr>
              <a:xfrm>
                <a:off x="9303325" y="149270"/>
                <a:ext cx="223619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TEXT FORMATS IN THIS LAYOUT</a:t>
                </a:r>
              </a:p>
            </p:txBody>
          </p: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526A15D-C3EF-0040-8B4F-8F84446E57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51887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02144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(Phot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8A4F191-2C43-004D-A488-5B9444E0A6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6858000"/>
          </a:xfrm>
          <a:custGeom>
            <a:avLst/>
            <a:gdLst>
              <a:gd name="connsiteX0" fmla="*/ 8545319 w 9144000"/>
              <a:gd name="connsiteY0" fmla="*/ 6577274 h 6858000"/>
              <a:gd name="connsiteX1" fmla="*/ 8554629 w 9144000"/>
              <a:gd name="connsiteY1" fmla="*/ 6577274 h 6858000"/>
              <a:gd name="connsiteX2" fmla="*/ 8572755 w 9144000"/>
              <a:gd name="connsiteY2" fmla="*/ 6592563 h 6858000"/>
              <a:gd name="connsiteX3" fmla="*/ 8552839 w 9144000"/>
              <a:gd name="connsiteY3" fmla="*/ 6608586 h 6858000"/>
              <a:gd name="connsiteX4" fmla="*/ 8552839 w 9144000"/>
              <a:gd name="connsiteY4" fmla="*/ 6608473 h 6858000"/>
              <a:gd name="connsiteX5" fmla="*/ 8545319 w 9144000"/>
              <a:gd name="connsiteY5" fmla="*/ 6608473 h 6858000"/>
              <a:gd name="connsiteX6" fmla="*/ 8440530 w 9144000"/>
              <a:gd name="connsiteY6" fmla="*/ 6576164 h 6858000"/>
              <a:gd name="connsiteX7" fmla="*/ 8450868 w 9144000"/>
              <a:gd name="connsiteY7" fmla="*/ 6576164 h 6858000"/>
              <a:gd name="connsiteX8" fmla="*/ 8486565 w 9144000"/>
              <a:gd name="connsiteY8" fmla="*/ 6607213 h 6858000"/>
              <a:gd name="connsiteX9" fmla="*/ 8452486 w 9144000"/>
              <a:gd name="connsiteY9" fmla="*/ 6640294 h 6858000"/>
              <a:gd name="connsiteX10" fmla="*/ 8440530 w 9144000"/>
              <a:gd name="connsiteY10" fmla="*/ 6640294 h 6858000"/>
              <a:gd name="connsiteX11" fmla="*/ 8359311 w 9144000"/>
              <a:gd name="connsiteY11" fmla="*/ 6554744 h 6858000"/>
              <a:gd name="connsiteX12" fmla="*/ 8357845 w 9144000"/>
              <a:gd name="connsiteY12" fmla="*/ 6557847 h 6858000"/>
              <a:gd name="connsiteX13" fmla="*/ 8338064 w 9144000"/>
              <a:gd name="connsiteY13" fmla="*/ 6599653 h 6858000"/>
              <a:gd name="connsiteX14" fmla="*/ 8338064 w 9144000"/>
              <a:gd name="connsiteY14" fmla="*/ 6661564 h 6858000"/>
              <a:gd name="connsiteX15" fmla="*/ 8406527 w 9144000"/>
              <a:gd name="connsiteY15" fmla="*/ 6661564 h 6858000"/>
              <a:gd name="connsiteX16" fmla="*/ 8406527 w 9144000"/>
              <a:gd name="connsiteY16" fmla="*/ 6638977 h 6858000"/>
              <a:gd name="connsiteX17" fmla="*/ 8363157 w 9144000"/>
              <a:gd name="connsiteY17" fmla="*/ 6638977 h 6858000"/>
              <a:gd name="connsiteX18" fmla="*/ 8363157 w 9144000"/>
              <a:gd name="connsiteY18" fmla="*/ 6618140 h 6858000"/>
              <a:gd name="connsiteX19" fmla="*/ 8402681 w 9144000"/>
              <a:gd name="connsiteY19" fmla="*/ 6618140 h 6858000"/>
              <a:gd name="connsiteX20" fmla="*/ 8402681 w 9144000"/>
              <a:gd name="connsiteY20" fmla="*/ 6596569 h 6858000"/>
              <a:gd name="connsiteX21" fmla="*/ 8363157 w 9144000"/>
              <a:gd name="connsiteY21" fmla="*/ 6596569 h 6858000"/>
              <a:gd name="connsiteX22" fmla="*/ 8363157 w 9144000"/>
              <a:gd name="connsiteY22" fmla="*/ 6577481 h 6858000"/>
              <a:gd name="connsiteX23" fmla="*/ 8406527 w 9144000"/>
              <a:gd name="connsiteY23" fmla="*/ 6577481 h 6858000"/>
              <a:gd name="connsiteX24" fmla="*/ 8406527 w 9144000"/>
              <a:gd name="connsiteY24" fmla="*/ 6554744 h 6858000"/>
              <a:gd name="connsiteX25" fmla="*/ 8245574 w 9144000"/>
              <a:gd name="connsiteY25" fmla="*/ 6554725 h 6858000"/>
              <a:gd name="connsiteX26" fmla="*/ 8262081 w 9144000"/>
              <a:gd name="connsiteY26" fmla="*/ 6589122 h 6858000"/>
              <a:gd name="connsiteX27" fmla="*/ 8288525 w 9144000"/>
              <a:gd name="connsiteY27" fmla="*/ 6589122 h 6858000"/>
              <a:gd name="connsiteX28" fmla="*/ 8273961 w 9144000"/>
              <a:gd name="connsiteY28" fmla="*/ 6554725 h 6858000"/>
              <a:gd name="connsiteX29" fmla="*/ 8520245 w 9144000"/>
              <a:gd name="connsiteY29" fmla="*/ 6554706 h 6858000"/>
              <a:gd name="connsiteX30" fmla="*/ 8520245 w 9144000"/>
              <a:gd name="connsiteY30" fmla="*/ 6661563 h 6858000"/>
              <a:gd name="connsiteX31" fmla="*/ 8545319 w 9144000"/>
              <a:gd name="connsiteY31" fmla="*/ 6661563 h 6858000"/>
              <a:gd name="connsiteX32" fmla="*/ 8545319 w 9144000"/>
              <a:gd name="connsiteY32" fmla="*/ 6629931 h 6858000"/>
              <a:gd name="connsiteX33" fmla="*/ 8554629 w 9144000"/>
              <a:gd name="connsiteY33" fmla="*/ 6629931 h 6858000"/>
              <a:gd name="connsiteX34" fmla="*/ 8598419 w 9144000"/>
              <a:gd name="connsiteY34" fmla="*/ 6592018 h 6858000"/>
              <a:gd name="connsiteX35" fmla="*/ 8550345 w 9144000"/>
              <a:gd name="connsiteY35" fmla="*/ 6554706 h 6858000"/>
              <a:gd name="connsiteX36" fmla="*/ 8415494 w 9144000"/>
              <a:gd name="connsiteY36" fmla="*/ 6554706 h 6858000"/>
              <a:gd name="connsiteX37" fmla="*/ 8415494 w 9144000"/>
              <a:gd name="connsiteY37" fmla="*/ 6661469 h 6858000"/>
              <a:gd name="connsiteX38" fmla="*/ 8448545 w 9144000"/>
              <a:gd name="connsiteY38" fmla="*/ 6661582 h 6858000"/>
              <a:gd name="connsiteX39" fmla="*/ 8513277 w 9144000"/>
              <a:gd name="connsiteY39" fmla="*/ 6607213 h 6858000"/>
              <a:gd name="connsiteX40" fmla="*/ 8447460 w 9144000"/>
              <a:gd name="connsiteY40" fmla="*/ 6554744 h 6858000"/>
              <a:gd name="connsiteX41" fmla="*/ 8447498 w 9144000"/>
              <a:gd name="connsiteY41" fmla="*/ 6554706 h 6858000"/>
              <a:gd name="connsiteX42" fmla="*/ 8415494 w 9144000"/>
              <a:gd name="connsiteY42" fmla="*/ 6554706 h 6858000"/>
              <a:gd name="connsiteX43" fmla="*/ 8323899 w 9144000"/>
              <a:gd name="connsiteY43" fmla="*/ 6554706 h 6858000"/>
              <a:gd name="connsiteX44" fmla="*/ 8298692 w 9144000"/>
              <a:gd name="connsiteY44" fmla="*/ 6612648 h 6858000"/>
              <a:gd name="connsiteX45" fmla="*/ 8291857 w 9144000"/>
              <a:gd name="connsiteY45" fmla="*/ 6596644 h 6858000"/>
              <a:gd name="connsiteX46" fmla="*/ 8265622 w 9144000"/>
              <a:gd name="connsiteY46" fmla="*/ 6596644 h 6858000"/>
              <a:gd name="connsiteX47" fmla="*/ 8296941 w 9144000"/>
              <a:gd name="connsiteY47" fmla="*/ 6661977 h 6858000"/>
              <a:gd name="connsiteX48" fmla="*/ 8299854 w 9144000"/>
              <a:gd name="connsiteY48" fmla="*/ 6661977 h 6858000"/>
              <a:gd name="connsiteX49" fmla="*/ 8350592 w 9144000"/>
              <a:gd name="connsiteY49" fmla="*/ 6554706 h 6858000"/>
              <a:gd name="connsiteX50" fmla="*/ 8704281 w 9144000"/>
              <a:gd name="connsiteY50" fmla="*/ 6516147 h 6858000"/>
              <a:gd name="connsiteX51" fmla="*/ 8704281 w 9144000"/>
              <a:gd name="connsiteY51" fmla="*/ 6690772 h 6858000"/>
              <a:gd name="connsiteX52" fmla="*/ 8723670 w 9144000"/>
              <a:gd name="connsiteY52" fmla="*/ 6690772 h 6858000"/>
              <a:gd name="connsiteX53" fmla="*/ 8723670 w 9144000"/>
              <a:gd name="connsiteY53" fmla="*/ 6516147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19" y="6577274"/>
                </a:moveTo>
                <a:lnTo>
                  <a:pt x="8554629" y="6577274"/>
                </a:lnTo>
                <a:cubicBezTo>
                  <a:pt x="8567005" y="6577274"/>
                  <a:pt x="8572755" y="6583969"/>
                  <a:pt x="8572755" y="6592563"/>
                </a:cubicBezTo>
                <a:cubicBezTo>
                  <a:pt x="8572755" y="6602907"/>
                  <a:pt x="8566129" y="6608586"/>
                  <a:pt x="8552839" y="6608586"/>
                </a:cubicBezTo>
                <a:lnTo>
                  <a:pt x="8552839" y="6608473"/>
                </a:lnTo>
                <a:lnTo>
                  <a:pt x="8545319" y="6608473"/>
                </a:lnTo>
                <a:close/>
                <a:moveTo>
                  <a:pt x="8440530" y="6576164"/>
                </a:moveTo>
                <a:lnTo>
                  <a:pt x="8450868" y="6576164"/>
                </a:lnTo>
                <a:cubicBezTo>
                  <a:pt x="8474171" y="6576164"/>
                  <a:pt x="8486565" y="6587824"/>
                  <a:pt x="8486565" y="6607213"/>
                </a:cubicBezTo>
                <a:cubicBezTo>
                  <a:pt x="8486565" y="6627186"/>
                  <a:pt x="8476094" y="6640294"/>
                  <a:pt x="8452486" y="6640294"/>
                </a:cubicBezTo>
                <a:lnTo>
                  <a:pt x="8440530" y="6640294"/>
                </a:lnTo>
                <a:close/>
                <a:moveTo>
                  <a:pt x="8359311" y="6554744"/>
                </a:moveTo>
                <a:lnTo>
                  <a:pt x="8357845" y="6557847"/>
                </a:lnTo>
                <a:lnTo>
                  <a:pt x="8338064" y="6599653"/>
                </a:lnTo>
                <a:lnTo>
                  <a:pt x="8338064" y="6661564"/>
                </a:lnTo>
                <a:lnTo>
                  <a:pt x="8406527" y="6661564"/>
                </a:lnTo>
                <a:lnTo>
                  <a:pt x="8406527" y="6638977"/>
                </a:lnTo>
                <a:lnTo>
                  <a:pt x="8363157" y="6638977"/>
                </a:lnTo>
                <a:lnTo>
                  <a:pt x="8363157" y="6618140"/>
                </a:lnTo>
                <a:lnTo>
                  <a:pt x="8402681" y="6618140"/>
                </a:lnTo>
                <a:lnTo>
                  <a:pt x="8402681" y="6596569"/>
                </a:lnTo>
                <a:lnTo>
                  <a:pt x="8363157" y="6596569"/>
                </a:lnTo>
                <a:lnTo>
                  <a:pt x="8363157" y="6577481"/>
                </a:lnTo>
                <a:lnTo>
                  <a:pt x="8406527" y="6577481"/>
                </a:lnTo>
                <a:lnTo>
                  <a:pt x="8406527" y="6554744"/>
                </a:lnTo>
                <a:close/>
                <a:moveTo>
                  <a:pt x="8245574" y="6554725"/>
                </a:moveTo>
                <a:lnTo>
                  <a:pt x="8262081" y="6589122"/>
                </a:lnTo>
                <a:lnTo>
                  <a:pt x="8288525" y="6589122"/>
                </a:lnTo>
                <a:lnTo>
                  <a:pt x="8273961" y="6554725"/>
                </a:lnTo>
                <a:close/>
                <a:moveTo>
                  <a:pt x="8520245" y="6554706"/>
                </a:moveTo>
                <a:lnTo>
                  <a:pt x="8520245" y="6661563"/>
                </a:lnTo>
                <a:lnTo>
                  <a:pt x="8545319" y="6661563"/>
                </a:lnTo>
                <a:lnTo>
                  <a:pt x="8545319" y="6629931"/>
                </a:lnTo>
                <a:lnTo>
                  <a:pt x="8554629" y="6629931"/>
                </a:lnTo>
                <a:cubicBezTo>
                  <a:pt x="8583188" y="6629931"/>
                  <a:pt x="8598419" y="6614040"/>
                  <a:pt x="8598419" y="6592018"/>
                </a:cubicBezTo>
                <a:cubicBezTo>
                  <a:pt x="8598438" y="6570485"/>
                  <a:pt x="8581627" y="6554706"/>
                  <a:pt x="8550345" y="6554706"/>
                </a:cubicBezTo>
                <a:close/>
                <a:moveTo>
                  <a:pt x="8415494" y="6554706"/>
                </a:moveTo>
                <a:lnTo>
                  <a:pt x="8415494" y="6661469"/>
                </a:lnTo>
                <a:cubicBezTo>
                  <a:pt x="8415494" y="6661469"/>
                  <a:pt x="8435865" y="6661582"/>
                  <a:pt x="8448545" y="6661582"/>
                </a:cubicBezTo>
                <a:cubicBezTo>
                  <a:pt x="8493381" y="6661582"/>
                  <a:pt x="8513277" y="6638695"/>
                  <a:pt x="8513277" y="6607213"/>
                </a:cubicBezTo>
                <a:cubicBezTo>
                  <a:pt x="8513277" y="6577123"/>
                  <a:pt x="8492334" y="6554744"/>
                  <a:pt x="8447460" y="6554744"/>
                </a:cubicBezTo>
                <a:lnTo>
                  <a:pt x="8447498" y="6554706"/>
                </a:lnTo>
                <a:cubicBezTo>
                  <a:pt x="8436741" y="6554706"/>
                  <a:pt x="8415494" y="6554706"/>
                  <a:pt x="8415494" y="6554706"/>
                </a:cubicBezTo>
                <a:close/>
                <a:moveTo>
                  <a:pt x="8323899" y="6554706"/>
                </a:moveTo>
                <a:lnTo>
                  <a:pt x="8298692" y="6612648"/>
                </a:lnTo>
                <a:lnTo>
                  <a:pt x="8291857" y="6596644"/>
                </a:lnTo>
                <a:lnTo>
                  <a:pt x="8265622" y="6596644"/>
                </a:lnTo>
                <a:lnTo>
                  <a:pt x="8296941" y="6661977"/>
                </a:lnTo>
                <a:lnTo>
                  <a:pt x="8299854" y="6661977"/>
                </a:lnTo>
                <a:lnTo>
                  <a:pt x="8350592" y="6554706"/>
                </a:lnTo>
                <a:close/>
                <a:moveTo>
                  <a:pt x="8704281" y="6516147"/>
                </a:moveTo>
                <a:lnTo>
                  <a:pt x="8704281" y="6690772"/>
                </a:lnTo>
                <a:lnTo>
                  <a:pt x="8723670" y="6690772"/>
                </a:lnTo>
                <a:lnTo>
                  <a:pt x="8723670" y="651614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rgbClr val="003865">
                <a:shade val="50000"/>
                <a:alpha val="0"/>
              </a:srgbClr>
            </a:solidFill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4084FA-14AD-964B-87DF-2AC4D0E255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" y="1"/>
            <a:ext cx="7217021" cy="6858000"/>
          </a:xfrm>
          <a:custGeom>
            <a:avLst/>
            <a:gdLst>
              <a:gd name="connsiteX0" fmla="*/ 0 w 7217021"/>
              <a:gd name="connsiteY0" fmla="*/ 0 h 6858000"/>
              <a:gd name="connsiteX1" fmla="*/ 3962555 w 7217021"/>
              <a:gd name="connsiteY1" fmla="*/ 0 h 6858000"/>
              <a:gd name="connsiteX2" fmla="*/ 7217021 w 7217021"/>
              <a:gd name="connsiteY2" fmla="*/ 6858000 h 6858000"/>
              <a:gd name="connsiteX3" fmla="*/ 0 w 721702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17021" h="6858000">
                <a:moveTo>
                  <a:pt x="0" y="0"/>
                </a:moveTo>
                <a:lnTo>
                  <a:pt x="3962555" y="0"/>
                </a:lnTo>
                <a:lnTo>
                  <a:pt x="7217021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  <a:ln>
            <a:solidFill>
              <a:srgbClr val="003865">
                <a:shade val="50000"/>
                <a:alpha val="0"/>
              </a:srgbClr>
            </a:solidFill>
          </a:ln>
        </p:spPr>
        <p:txBody>
          <a:bodyPr wrap="square" lIns="432000" tIns="0" rIns="2160000" bIns="0" anchor="ctr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6600" b="1">
                <a:solidFill>
                  <a:schemeClr val="bg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bg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bg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5pPr>
            <a:lvl6pPr marL="20638" indent="0">
              <a:buNone/>
              <a:tabLst/>
              <a:defRPr>
                <a:solidFill>
                  <a:schemeClr val="bg1"/>
                </a:solidFill>
              </a:defRPr>
            </a:lvl6pPr>
            <a:lvl7pPr marL="20638" indent="0">
              <a:buNone/>
              <a:tabLst/>
              <a:defRPr>
                <a:solidFill>
                  <a:schemeClr val="bg1"/>
                </a:solidFill>
              </a:defRPr>
            </a:lvl7pPr>
            <a:lvl8pPr marL="20638" indent="0">
              <a:buNone/>
              <a:tabLst/>
              <a:defRPr>
                <a:solidFill>
                  <a:schemeClr val="bg1"/>
                </a:solidFill>
              </a:defRPr>
            </a:lvl8pPr>
            <a:lvl9pPr marL="20638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Q&amp;A message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0A982D0-E4B8-1041-813F-BDDC3436A88D}"/>
              </a:ext>
            </a:extLst>
          </p:cNvPr>
          <p:cNvGrpSpPr/>
          <p:nvPr userDrawn="1"/>
        </p:nvGrpSpPr>
        <p:grpSpPr>
          <a:xfrm>
            <a:off x="-256964" y="2429704"/>
            <a:ext cx="251461" cy="1998593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83CFF79-5962-9D49-8E42-F2AF4C267204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6F525C6-8B46-4140-AF00-48FB794ECB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604655F-D15F-D843-AA38-CAA6FDF115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3ACDE28-DF49-C14A-B556-C3FBEB96DDE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09205E5-0F35-EB40-8B2F-8E547892AACD}"/>
                </a:ext>
              </a:extLst>
            </p:cNvPr>
            <p:cNvSpPr txBox="1"/>
            <p:nvPr userDrawn="1"/>
          </p:nvSpPr>
          <p:spPr>
            <a:xfrm rot="16200000">
              <a:off x="-297289" y="649201"/>
              <a:ext cx="333247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Q&amp;A MESSAGE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8A15BD-A596-E247-85A4-DD939638C5D3}"/>
              </a:ext>
            </a:extLst>
          </p:cNvPr>
          <p:cNvGrpSpPr/>
          <p:nvPr userDrawn="1"/>
        </p:nvGrpSpPr>
        <p:grpSpPr>
          <a:xfrm>
            <a:off x="9399182" y="0"/>
            <a:ext cx="2961715" cy="8293166"/>
            <a:chOff x="9399182" y="0"/>
            <a:chExt cx="2961715" cy="8293166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484143C-DF42-9845-8B4E-6EE9192D37DA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812636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DC6F3D09-77E6-DD4A-B8C1-57D3B5AF851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31332"/>
            <a:stretch/>
          </p:blipFill>
          <p:spPr>
            <a:xfrm>
              <a:off x="9558506" y="1334591"/>
              <a:ext cx="2639325" cy="793238"/>
            </a:xfrm>
            <a:prstGeom prst="rect">
              <a:avLst/>
            </a:prstGeom>
          </p:spPr>
        </p:pic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FAA681A-5A01-3546-8044-1C8ECB661A3E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4D0CDE4-38A0-8B46-802A-EFEB782422E0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F1F33519-662F-9A45-B84A-EC851E12109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91FADFC-F7F0-CE43-B65A-8A3CF7063BA7}"/>
                </a:ext>
              </a:extLst>
            </p:cNvPr>
            <p:cNvGrpSpPr/>
            <p:nvPr userDrawn="1"/>
          </p:nvGrpSpPr>
          <p:grpSpPr>
            <a:xfrm>
              <a:off x="9521833" y="2279341"/>
              <a:ext cx="2754815" cy="6013825"/>
              <a:chOff x="9521833" y="2429703"/>
              <a:chExt cx="2754815" cy="6013825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50000E5F-473E-B14E-9172-0C267CD0D2E3}"/>
                  </a:ext>
                </a:extLst>
              </p:cNvPr>
              <p:cNvSpPr txBox="1"/>
              <p:nvPr userDrawn="1"/>
            </p:nvSpPr>
            <p:spPr>
              <a:xfrm>
                <a:off x="9558507" y="2429703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4E62F4DD-8AD3-2F43-B8DF-8C54ABD90DF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2632320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C363D809-5FFE-3D42-B068-23D851F092D9}"/>
                  </a:ext>
                </a:extLst>
              </p:cNvPr>
              <p:cNvSpPr txBox="1"/>
              <p:nvPr userDrawn="1"/>
            </p:nvSpPr>
            <p:spPr>
              <a:xfrm>
                <a:off x="9686426" y="3490630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AB47AC43-F715-C242-B27E-A04E6F462262}"/>
                  </a:ext>
                </a:extLst>
              </p:cNvPr>
              <p:cNvSpPr/>
              <p:nvPr userDrawn="1"/>
            </p:nvSpPr>
            <p:spPr>
              <a:xfrm>
                <a:off x="9541497" y="7032213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148CB54C-821A-5D43-9B80-B00746C05FDA}"/>
                  </a:ext>
                </a:extLst>
              </p:cNvPr>
              <p:cNvSpPr txBox="1"/>
              <p:nvPr userDrawn="1"/>
            </p:nvSpPr>
            <p:spPr>
              <a:xfrm>
                <a:off x="9907688" y="7161013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53" name="Graphic 52">
                <a:extLst>
                  <a:ext uri="{FF2B5EF4-FFF2-40B4-BE49-F238E27FC236}">
                    <a16:creationId xmlns:a16="http://schemas.microsoft.com/office/drawing/2014/main" id="{2504B4CD-2C7F-1246-A54A-8E3EBAAD534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7171296"/>
                <a:ext cx="155227" cy="155227"/>
              </a:xfrm>
              <a:prstGeom prst="rect">
                <a:avLst/>
              </a:prstGeom>
            </p:spPr>
          </p:pic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62BFE2AB-0056-4F46-9E47-AE686B26A8F3}"/>
                  </a:ext>
                </a:extLst>
              </p:cNvPr>
              <p:cNvSpPr txBox="1"/>
              <p:nvPr userDrawn="1"/>
            </p:nvSpPr>
            <p:spPr>
              <a:xfrm>
                <a:off x="9716735" y="7740996"/>
                <a:ext cx="2422981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89249B47-877A-7F4B-81CF-E1915A134B07}"/>
                  </a:ext>
                </a:extLst>
              </p:cNvPr>
              <p:cNvSpPr txBox="1"/>
              <p:nvPr userDrawn="1"/>
            </p:nvSpPr>
            <p:spPr>
              <a:xfrm>
                <a:off x="9716735" y="7422152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25B3D92B-ADE7-4F4A-97DB-1DFE94A4713A}"/>
                  </a:ext>
                </a:extLst>
              </p:cNvPr>
              <p:cNvSpPr txBox="1"/>
              <p:nvPr userDrawn="1"/>
            </p:nvSpPr>
            <p:spPr>
              <a:xfrm>
                <a:off x="9716735" y="8190673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27DA6595-306D-0A4B-AE99-BA22D473E46C}"/>
                  </a:ext>
                </a:extLst>
              </p:cNvPr>
              <p:cNvSpPr/>
              <p:nvPr userDrawn="1"/>
            </p:nvSpPr>
            <p:spPr>
              <a:xfrm>
                <a:off x="9541497" y="5675557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EF7C1405-EF07-DF44-B3F2-FD2C93E0BA8B}"/>
                  </a:ext>
                </a:extLst>
              </p:cNvPr>
              <p:cNvSpPr txBox="1"/>
              <p:nvPr userDrawn="1"/>
            </p:nvSpPr>
            <p:spPr>
              <a:xfrm>
                <a:off x="9907688" y="5804356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46" name="Graphic 45">
                <a:extLst>
                  <a:ext uri="{FF2B5EF4-FFF2-40B4-BE49-F238E27FC236}">
                    <a16:creationId xmlns:a16="http://schemas.microsoft.com/office/drawing/2014/main" id="{98B75E83-A291-C749-8530-D0134288939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5814639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49043FBC-99A8-904D-B1DC-ED8D203DAF7E}"/>
                  </a:ext>
                </a:extLst>
              </p:cNvPr>
              <p:cNvSpPr txBox="1"/>
              <p:nvPr userDrawn="1"/>
            </p:nvSpPr>
            <p:spPr>
              <a:xfrm>
                <a:off x="9701720" y="6068540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94798B0E-910D-4A4C-9F6F-4AAF72D24DFC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33684" t="12097" r="43371" b="20368"/>
              <a:stretch/>
            </p:blipFill>
            <p:spPr>
              <a:xfrm>
                <a:off x="11498723" y="6152973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52BC29DD-C20C-EA42-8872-8414ACCDD37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2779850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95A41E19-A5FB-2D4D-8D95-130C7BA64B4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3275404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4A2419C-7501-4D49-A0B2-08128721E5B0}"/>
                  </a:ext>
                </a:extLst>
              </p:cNvPr>
              <p:cNvSpPr txBox="1"/>
              <p:nvPr userDrawn="1"/>
            </p:nvSpPr>
            <p:spPr>
              <a:xfrm>
                <a:off x="9686426" y="2754823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506C958-AF2C-9943-9FB4-E2A3C7843CB1}"/>
                  </a:ext>
                </a:extLst>
              </p:cNvPr>
              <p:cNvSpPr txBox="1"/>
              <p:nvPr userDrawn="1"/>
            </p:nvSpPr>
            <p:spPr>
              <a:xfrm>
                <a:off x="9674267" y="3773935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C706E14D-CD4C-A845-9F04-15216A850EFD}"/>
                  </a:ext>
                </a:extLst>
              </p:cNvPr>
              <p:cNvSpPr txBox="1"/>
              <p:nvPr userDrawn="1"/>
            </p:nvSpPr>
            <p:spPr>
              <a:xfrm>
                <a:off x="9686426" y="4189192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 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781F2FB8-3E34-904B-A499-11E8E7059B83}"/>
                  </a:ext>
                </a:extLst>
              </p:cNvPr>
              <p:cNvSpPr txBox="1"/>
              <p:nvPr userDrawn="1"/>
            </p:nvSpPr>
            <p:spPr>
              <a:xfrm>
                <a:off x="9686426" y="4909282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E470A557-B8E0-3A45-9AF0-EA49D8E444DD}"/>
                  </a:ext>
                </a:extLst>
              </p:cNvPr>
              <p:cNvSpPr txBox="1"/>
              <p:nvPr userDrawn="1"/>
            </p:nvSpPr>
            <p:spPr>
              <a:xfrm>
                <a:off x="9674267" y="5339845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 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E6CC4D87-33F0-FC4F-BA5B-B1A92EB4BE71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1268B1E-F62E-304A-B81F-61E2F75FA67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AE87001B-4793-B648-AA15-C4839E720D70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359337" y="6048425"/>
            <a:ext cx="1343822" cy="30469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39E4D18-9C18-1044-90FB-55BA101FB9A6}"/>
              </a:ext>
            </a:extLst>
          </p:cNvPr>
          <p:cNvSpPr>
            <a:spLocks noGrp="1"/>
          </p:cNvSpPr>
          <p:nvPr userDrawn="1"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6F3FDB-CFE4-E643-8F66-62F5B43DC7E7}"/>
              </a:ext>
            </a:extLst>
          </p:cNvPr>
          <p:cNvSpPr>
            <a:spLocks noGrp="1"/>
          </p:cNvSpPr>
          <p:nvPr userDrawn="1"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21BDA-AD36-4743-9F8E-0A4C0BC0DD64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673DA702-693D-CC41-B851-ADCA7E442CAD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68E21C45-C896-3A4E-9AC2-0B2E1C68424D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E11C4987-4F88-FA4D-9044-5BEA5CD0FD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CFAFED8F-4D61-3A4C-B900-C1AFD574285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0F0D3C41-93FC-C045-9185-5A21C57F01F2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1D065C1D-41DC-ED41-AC5F-9B220460AFDF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0C96A83E-17A8-C54D-A34D-A4D00E992C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EE874F0A-C444-FD4A-ABF6-C6D41FC80E5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5" name="Rectangle 104">
                  <a:extLst>
                    <a:ext uri="{FF2B5EF4-FFF2-40B4-BE49-F238E27FC236}">
                      <a16:creationId xmlns:a16="http://schemas.microsoft.com/office/drawing/2014/main" id="{E74B379E-15F9-2A4A-A6FF-49649073612C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4B9BE125-E956-8941-AE3B-AD6895BD1F8B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01" name="Straight Arrow Connector 100">
                <a:extLst>
                  <a:ext uri="{FF2B5EF4-FFF2-40B4-BE49-F238E27FC236}">
                    <a16:creationId xmlns:a16="http://schemas.microsoft.com/office/drawing/2014/main" id="{B40F167B-24AA-EA40-9DF5-3D37F00624E8}"/>
                  </a:ext>
                </a:extLst>
              </p:cNvPr>
              <p:cNvCxnSpPr>
                <a:cxnSpLocks/>
                <a:stCxn id="100" idx="1"/>
                <a:endCxn id="105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Arrow Connector 101">
                <a:extLst>
                  <a:ext uri="{FF2B5EF4-FFF2-40B4-BE49-F238E27FC236}">
                    <a16:creationId xmlns:a16="http://schemas.microsoft.com/office/drawing/2014/main" id="{4111FD70-76FA-D84E-9207-CC62337BE3E4}"/>
                  </a:ext>
                </a:extLst>
              </p:cNvPr>
              <p:cNvCxnSpPr>
                <a:cxnSpLocks/>
                <a:stCxn id="100" idx="3"/>
                <a:endCxn id="105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459020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+A (Pla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66A325C2-D12F-7B40-91F5-4861BF43A0FF}"/>
              </a:ext>
            </a:extLst>
          </p:cNvPr>
          <p:cNvSpPr txBox="1">
            <a:spLocks/>
          </p:cNvSpPr>
          <p:nvPr userDrawn="1"/>
        </p:nvSpPr>
        <p:spPr>
          <a:xfrm>
            <a:off x="0" y="6200776"/>
            <a:ext cx="9144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E79AC3E7-6F38-DB4F-A28C-F43DDC379D28}"/>
              </a:ext>
            </a:extLst>
          </p:cNvPr>
          <p:cNvSpPr/>
          <p:nvPr userDrawn="1"/>
        </p:nvSpPr>
        <p:spPr>
          <a:xfrm>
            <a:off x="0" y="0"/>
            <a:ext cx="7217021" cy="6858000"/>
          </a:xfrm>
          <a:custGeom>
            <a:avLst/>
            <a:gdLst>
              <a:gd name="connsiteX0" fmla="*/ 0 w 7217021"/>
              <a:gd name="connsiteY0" fmla="*/ 0 h 6858000"/>
              <a:gd name="connsiteX1" fmla="*/ 3962555 w 7217021"/>
              <a:gd name="connsiteY1" fmla="*/ 0 h 6858000"/>
              <a:gd name="connsiteX2" fmla="*/ 7217021 w 7217021"/>
              <a:gd name="connsiteY2" fmla="*/ 6858000 h 6858000"/>
              <a:gd name="connsiteX3" fmla="*/ 0 w 721702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17021" h="6858000">
                <a:moveTo>
                  <a:pt x="0" y="0"/>
                </a:moveTo>
                <a:lnTo>
                  <a:pt x="3962555" y="0"/>
                </a:lnTo>
                <a:lnTo>
                  <a:pt x="721702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4084FA-14AD-964B-87DF-2AC4D0E255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" y="1881813"/>
            <a:ext cx="5194851" cy="3094376"/>
          </a:xfrm>
          <a:prstGeom prst="rect">
            <a:avLst/>
          </a:prstGeom>
          <a:noFill/>
          <a:ln>
            <a:noFill/>
          </a:ln>
        </p:spPr>
        <p:txBody>
          <a:bodyPr wrap="square" lIns="432000" tIns="0" rIns="0" bIns="0" anchor="ctr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6600" b="1">
                <a:solidFill>
                  <a:schemeClr val="bg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bg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bg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5pPr>
            <a:lvl6pPr marL="20638" indent="0">
              <a:buNone/>
              <a:tabLst/>
              <a:defRPr>
                <a:solidFill>
                  <a:schemeClr val="bg1"/>
                </a:solidFill>
              </a:defRPr>
            </a:lvl6pPr>
            <a:lvl7pPr marL="20638" indent="0">
              <a:buNone/>
              <a:tabLst/>
              <a:defRPr>
                <a:solidFill>
                  <a:schemeClr val="bg1"/>
                </a:solidFill>
              </a:defRPr>
            </a:lvl7pPr>
            <a:lvl8pPr marL="20638" indent="0">
              <a:buNone/>
              <a:tabLst/>
              <a:defRPr>
                <a:solidFill>
                  <a:schemeClr val="bg1"/>
                </a:solidFill>
              </a:defRPr>
            </a:lvl8pPr>
            <a:lvl9pPr marL="20638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Q&amp;A message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103AB71-ACF2-D747-99D4-1B67168DB846}"/>
              </a:ext>
            </a:extLst>
          </p:cNvPr>
          <p:cNvGrpSpPr/>
          <p:nvPr userDrawn="1"/>
        </p:nvGrpSpPr>
        <p:grpSpPr>
          <a:xfrm>
            <a:off x="-256964" y="2429704"/>
            <a:ext cx="251461" cy="1998593"/>
            <a:chOff x="-256404" y="360363"/>
            <a:chExt cx="251461" cy="692152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3C6CB04-838C-1B48-B38E-7B94BB69DD62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791AF36-A848-784A-9A81-59277F52155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9DBC04DA-F43F-C344-981D-CACEBABFB9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BABEF78A-48F4-204E-80F9-FC75EBD140D2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16AC5B1-5C25-304E-951F-89E93B11D04C}"/>
                </a:ext>
              </a:extLst>
            </p:cNvPr>
            <p:cNvSpPr txBox="1"/>
            <p:nvPr userDrawn="1"/>
          </p:nvSpPr>
          <p:spPr>
            <a:xfrm rot="16200000">
              <a:off x="-297289" y="649201"/>
              <a:ext cx="333247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Q&amp;A MESSAGE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9A7483A-4424-4C4C-B1F2-8E0F2C79B3A4}"/>
              </a:ext>
            </a:extLst>
          </p:cNvPr>
          <p:cNvGrpSpPr/>
          <p:nvPr userDrawn="1"/>
        </p:nvGrpSpPr>
        <p:grpSpPr>
          <a:xfrm>
            <a:off x="9399182" y="-1"/>
            <a:ext cx="2961715" cy="6858001"/>
            <a:chOff x="9399182" y="-1"/>
            <a:chExt cx="2961715" cy="685800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743BD3E-2C67-B54E-81F0-54DACF7DFE45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A9367C43-CC85-224D-AD7D-1ED5A0D9F64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31332"/>
            <a:stretch/>
          </p:blipFill>
          <p:spPr>
            <a:xfrm>
              <a:off x="9558506" y="1334591"/>
              <a:ext cx="2639325" cy="793238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A9C7FA4-FCE6-7949-A0D7-679DD9A64FDC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E6A4374B-28C4-A446-B944-F0B0823BD893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EE586C57-8856-BD47-9CD4-B7DE17D313F0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819A74B4-84E5-5946-9114-CF2C00B8314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C99A293-5185-464D-9613-58B7520A8FFD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1C5A7CD5-C968-D840-92D1-2E763C0E07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A94A909-1D52-5E46-B1A0-D0AF81D2814A}"/>
              </a:ext>
            </a:extLst>
          </p:cNvPr>
          <p:cNvSpPr>
            <a:spLocks noGrp="1"/>
          </p:cNvSpPr>
          <p:nvPr userDrawn="1"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7A6EC4E-A217-D940-A712-EF8E45593574}"/>
              </a:ext>
            </a:extLst>
          </p:cNvPr>
          <p:cNvSpPr>
            <a:spLocks noGrp="1"/>
          </p:cNvSpPr>
          <p:nvPr userDrawn="1"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5FB6912-B810-8A46-94FD-A4C9F97EBB58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CDB5F78-53FA-F540-9184-B4244AFBB550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94D2956-4630-B947-85C0-FA902055800D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9DCB243-7CBD-CF41-A847-4743B31F6F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A3C3437-8E87-6441-8B0A-8F8F806A150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C6173C6B-B5E5-C049-9D82-7736499206BB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7DB3214B-5835-0A45-ACF6-5EA3D2A2C2A4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9CD9029C-552E-3842-9142-2A9B992CBCD3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55CB89CE-5B72-E546-9AC4-BA4ABE7B6E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96D438F2-534B-EE4B-B585-C4CC5EDDB6FE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4038C5B-89D1-BD45-9508-F03D30A080FB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EF67F087-0FB9-A040-AE75-7F2F09852397}"/>
                  </a:ext>
                </a:extLst>
              </p:cNvPr>
              <p:cNvCxnSpPr>
                <a:cxnSpLocks/>
                <a:stCxn id="39" idx="1"/>
                <a:endCxn id="44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CD7BC267-67E7-4F46-8C2A-B2420627EE12}"/>
                  </a:ext>
                </a:extLst>
              </p:cNvPr>
              <p:cNvCxnSpPr>
                <a:cxnSpLocks/>
                <a:stCxn id="39" idx="3"/>
                <a:endCxn id="44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10023617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Phot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8F61A072-3C5F-4846-BB8E-52BBAAD71B0D}"/>
              </a:ext>
            </a:extLst>
          </p:cNvPr>
          <p:cNvSpPr/>
          <p:nvPr userDrawn="1"/>
        </p:nvSpPr>
        <p:spPr>
          <a:xfrm>
            <a:off x="9399182" y="-1"/>
            <a:ext cx="2798651" cy="78608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9623AF5A-508B-0F44-9682-E5B1C5647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4021" b="6017"/>
          <a:stretch/>
        </p:blipFill>
        <p:spPr>
          <a:xfrm>
            <a:off x="9558506" y="1323797"/>
            <a:ext cx="2632538" cy="532435"/>
          </a:xfrm>
          <a:prstGeom prst="rect">
            <a:avLst/>
          </a:prstGeom>
        </p:spPr>
      </p:pic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DE404AD-B661-6644-92E8-7E8C873D393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6858000"/>
          </a:xfrm>
          <a:custGeom>
            <a:avLst/>
            <a:gdLst>
              <a:gd name="connsiteX0" fmla="*/ 8545319 w 9144000"/>
              <a:gd name="connsiteY0" fmla="*/ 6577274 h 6858000"/>
              <a:gd name="connsiteX1" fmla="*/ 8554629 w 9144000"/>
              <a:gd name="connsiteY1" fmla="*/ 6577274 h 6858000"/>
              <a:gd name="connsiteX2" fmla="*/ 8572755 w 9144000"/>
              <a:gd name="connsiteY2" fmla="*/ 6592563 h 6858000"/>
              <a:gd name="connsiteX3" fmla="*/ 8552839 w 9144000"/>
              <a:gd name="connsiteY3" fmla="*/ 6608586 h 6858000"/>
              <a:gd name="connsiteX4" fmla="*/ 8552839 w 9144000"/>
              <a:gd name="connsiteY4" fmla="*/ 6608473 h 6858000"/>
              <a:gd name="connsiteX5" fmla="*/ 8545319 w 9144000"/>
              <a:gd name="connsiteY5" fmla="*/ 6608473 h 6858000"/>
              <a:gd name="connsiteX6" fmla="*/ 8440530 w 9144000"/>
              <a:gd name="connsiteY6" fmla="*/ 6576164 h 6858000"/>
              <a:gd name="connsiteX7" fmla="*/ 8450868 w 9144000"/>
              <a:gd name="connsiteY7" fmla="*/ 6576164 h 6858000"/>
              <a:gd name="connsiteX8" fmla="*/ 8486565 w 9144000"/>
              <a:gd name="connsiteY8" fmla="*/ 6607213 h 6858000"/>
              <a:gd name="connsiteX9" fmla="*/ 8452486 w 9144000"/>
              <a:gd name="connsiteY9" fmla="*/ 6640294 h 6858000"/>
              <a:gd name="connsiteX10" fmla="*/ 8440530 w 9144000"/>
              <a:gd name="connsiteY10" fmla="*/ 6640294 h 6858000"/>
              <a:gd name="connsiteX11" fmla="*/ 8359311 w 9144000"/>
              <a:gd name="connsiteY11" fmla="*/ 6554744 h 6858000"/>
              <a:gd name="connsiteX12" fmla="*/ 8357845 w 9144000"/>
              <a:gd name="connsiteY12" fmla="*/ 6557847 h 6858000"/>
              <a:gd name="connsiteX13" fmla="*/ 8338064 w 9144000"/>
              <a:gd name="connsiteY13" fmla="*/ 6599653 h 6858000"/>
              <a:gd name="connsiteX14" fmla="*/ 8338064 w 9144000"/>
              <a:gd name="connsiteY14" fmla="*/ 6661564 h 6858000"/>
              <a:gd name="connsiteX15" fmla="*/ 8406527 w 9144000"/>
              <a:gd name="connsiteY15" fmla="*/ 6661564 h 6858000"/>
              <a:gd name="connsiteX16" fmla="*/ 8406527 w 9144000"/>
              <a:gd name="connsiteY16" fmla="*/ 6638977 h 6858000"/>
              <a:gd name="connsiteX17" fmla="*/ 8363157 w 9144000"/>
              <a:gd name="connsiteY17" fmla="*/ 6638977 h 6858000"/>
              <a:gd name="connsiteX18" fmla="*/ 8363157 w 9144000"/>
              <a:gd name="connsiteY18" fmla="*/ 6618140 h 6858000"/>
              <a:gd name="connsiteX19" fmla="*/ 8402681 w 9144000"/>
              <a:gd name="connsiteY19" fmla="*/ 6618140 h 6858000"/>
              <a:gd name="connsiteX20" fmla="*/ 8402681 w 9144000"/>
              <a:gd name="connsiteY20" fmla="*/ 6596569 h 6858000"/>
              <a:gd name="connsiteX21" fmla="*/ 8363157 w 9144000"/>
              <a:gd name="connsiteY21" fmla="*/ 6596569 h 6858000"/>
              <a:gd name="connsiteX22" fmla="*/ 8363157 w 9144000"/>
              <a:gd name="connsiteY22" fmla="*/ 6577481 h 6858000"/>
              <a:gd name="connsiteX23" fmla="*/ 8406527 w 9144000"/>
              <a:gd name="connsiteY23" fmla="*/ 6577481 h 6858000"/>
              <a:gd name="connsiteX24" fmla="*/ 8406527 w 9144000"/>
              <a:gd name="connsiteY24" fmla="*/ 6554744 h 6858000"/>
              <a:gd name="connsiteX25" fmla="*/ 8245574 w 9144000"/>
              <a:gd name="connsiteY25" fmla="*/ 6554725 h 6858000"/>
              <a:gd name="connsiteX26" fmla="*/ 8262081 w 9144000"/>
              <a:gd name="connsiteY26" fmla="*/ 6589122 h 6858000"/>
              <a:gd name="connsiteX27" fmla="*/ 8288525 w 9144000"/>
              <a:gd name="connsiteY27" fmla="*/ 6589122 h 6858000"/>
              <a:gd name="connsiteX28" fmla="*/ 8273961 w 9144000"/>
              <a:gd name="connsiteY28" fmla="*/ 6554725 h 6858000"/>
              <a:gd name="connsiteX29" fmla="*/ 8520245 w 9144000"/>
              <a:gd name="connsiteY29" fmla="*/ 6554706 h 6858000"/>
              <a:gd name="connsiteX30" fmla="*/ 8520245 w 9144000"/>
              <a:gd name="connsiteY30" fmla="*/ 6661563 h 6858000"/>
              <a:gd name="connsiteX31" fmla="*/ 8545319 w 9144000"/>
              <a:gd name="connsiteY31" fmla="*/ 6661563 h 6858000"/>
              <a:gd name="connsiteX32" fmla="*/ 8545319 w 9144000"/>
              <a:gd name="connsiteY32" fmla="*/ 6629931 h 6858000"/>
              <a:gd name="connsiteX33" fmla="*/ 8554629 w 9144000"/>
              <a:gd name="connsiteY33" fmla="*/ 6629931 h 6858000"/>
              <a:gd name="connsiteX34" fmla="*/ 8598419 w 9144000"/>
              <a:gd name="connsiteY34" fmla="*/ 6592018 h 6858000"/>
              <a:gd name="connsiteX35" fmla="*/ 8550345 w 9144000"/>
              <a:gd name="connsiteY35" fmla="*/ 6554706 h 6858000"/>
              <a:gd name="connsiteX36" fmla="*/ 8415494 w 9144000"/>
              <a:gd name="connsiteY36" fmla="*/ 6554706 h 6858000"/>
              <a:gd name="connsiteX37" fmla="*/ 8415494 w 9144000"/>
              <a:gd name="connsiteY37" fmla="*/ 6661469 h 6858000"/>
              <a:gd name="connsiteX38" fmla="*/ 8448545 w 9144000"/>
              <a:gd name="connsiteY38" fmla="*/ 6661582 h 6858000"/>
              <a:gd name="connsiteX39" fmla="*/ 8513277 w 9144000"/>
              <a:gd name="connsiteY39" fmla="*/ 6607213 h 6858000"/>
              <a:gd name="connsiteX40" fmla="*/ 8447460 w 9144000"/>
              <a:gd name="connsiteY40" fmla="*/ 6554744 h 6858000"/>
              <a:gd name="connsiteX41" fmla="*/ 8447498 w 9144000"/>
              <a:gd name="connsiteY41" fmla="*/ 6554706 h 6858000"/>
              <a:gd name="connsiteX42" fmla="*/ 8415494 w 9144000"/>
              <a:gd name="connsiteY42" fmla="*/ 6554706 h 6858000"/>
              <a:gd name="connsiteX43" fmla="*/ 8323899 w 9144000"/>
              <a:gd name="connsiteY43" fmla="*/ 6554706 h 6858000"/>
              <a:gd name="connsiteX44" fmla="*/ 8298692 w 9144000"/>
              <a:gd name="connsiteY44" fmla="*/ 6612648 h 6858000"/>
              <a:gd name="connsiteX45" fmla="*/ 8291857 w 9144000"/>
              <a:gd name="connsiteY45" fmla="*/ 6596644 h 6858000"/>
              <a:gd name="connsiteX46" fmla="*/ 8265622 w 9144000"/>
              <a:gd name="connsiteY46" fmla="*/ 6596644 h 6858000"/>
              <a:gd name="connsiteX47" fmla="*/ 8296941 w 9144000"/>
              <a:gd name="connsiteY47" fmla="*/ 6661977 h 6858000"/>
              <a:gd name="connsiteX48" fmla="*/ 8299854 w 9144000"/>
              <a:gd name="connsiteY48" fmla="*/ 6661977 h 6858000"/>
              <a:gd name="connsiteX49" fmla="*/ 8350592 w 9144000"/>
              <a:gd name="connsiteY49" fmla="*/ 6554706 h 6858000"/>
              <a:gd name="connsiteX50" fmla="*/ 8704281 w 9144000"/>
              <a:gd name="connsiteY50" fmla="*/ 6516147 h 6858000"/>
              <a:gd name="connsiteX51" fmla="*/ 8704281 w 9144000"/>
              <a:gd name="connsiteY51" fmla="*/ 6690772 h 6858000"/>
              <a:gd name="connsiteX52" fmla="*/ 8723670 w 9144000"/>
              <a:gd name="connsiteY52" fmla="*/ 6690772 h 6858000"/>
              <a:gd name="connsiteX53" fmla="*/ 8723670 w 9144000"/>
              <a:gd name="connsiteY53" fmla="*/ 6516147 h 6858000"/>
              <a:gd name="connsiteX54" fmla="*/ 0 w 9144000"/>
              <a:gd name="connsiteY54" fmla="*/ 0 h 6858000"/>
              <a:gd name="connsiteX55" fmla="*/ 9144000 w 9144000"/>
              <a:gd name="connsiteY55" fmla="*/ 0 h 6858000"/>
              <a:gd name="connsiteX56" fmla="*/ 9144000 w 9144000"/>
              <a:gd name="connsiteY56" fmla="*/ 6858000 h 6858000"/>
              <a:gd name="connsiteX57" fmla="*/ 0 w 9144000"/>
              <a:gd name="connsiteY5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858000">
                <a:moveTo>
                  <a:pt x="8545319" y="6577274"/>
                </a:moveTo>
                <a:lnTo>
                  <a:pt x="8554629" y="6577274"/>
                </a:lnTo>
                <a:cubicBezTo>
                  <a:pt x="8567005" y="6577274"/>
                  <a:pt x="8572755" y="6583969"/>
                  <a:pt x="8572755" y="6592563"/>
                </a:cubicBezTo>
                <a:cubicBezTo>
                  <a:pt x="8572755" y="6602907"/>
                  <a:pt x="8566129" y="6608586"/>
                  <a:pt x="8552839" y="6608586"/>
                </a:cubicBezTo>
                <a:lnTo>
                  <a:pt x="8552839" y="6608473"/>
                </a:lnTo>
                <a:lnTo>
                  <a:pt x="8545319" y="6608473"/>
                </a:lnTo>
                <a:close/>
                <a:moveTo>
                  <a:pt x="8440530" y="6576164"/>
                </a:moveTo>
                <a:lnTo>
                  <a:pt x="8450868" y="6576164"/>
                </a:lnTo>
                <a:cubicBezTo>
                  <a:pt x="8474171" y="6576164"/>
                  <a:pt x="8486565" y="6587824"/>
                  <a:pt x="8486565" y="6607213"/>
                </a:cubicBezTo>
                <a:cubicBezTo>
                  <a:pt x="8486565" y="6627186"/>
                  <a:pt x="8476094" y="6640294"/>
                  <a:pt x="8452486" y="6640294"/>
                </a:cubicBezTo>
                <a:lnTo>
                  <a:pt x="8440530" y="6640294"/>
                </a:lnTo>
                <a:close/>
                <a:moveTo>
                  <a:pt x="8359311" y="6554744"/>
                </a:moveTo>
                <a:lnTo>
                  <a:pt x="8357845" y="6557847"/>
                </a:lnTo>
                <a:lnTo>
                  <a:pt x="8338064" y="6599653"/>
                </a:lnTo>
                <a:lnTo>
                  <a:pt x="8338064" y="6661564"/>
                </a:lnTo>
                <a:lnTo>
                  <a:pt x="8406527" y="6661564"/>
                </a:lnTo>
                <a:lnTo>
                  <a:pt x="8406527" y="6638977"/>
                </a:lnTo>
                <a:lnTo>
                  <a:pt x="8363157" y="6638977"/>
                </a:lnTo>
                <a:lnTo>
                  <a:pt x="8363157" y="6618140"/>
                </a:lnTo>
                <a:lnTo>
                  <a:pt x="8402681" y="6618140"/>
                </a:lnTo>
                <a:lnTo>
                  <a:pt x="8402681" y="6596569"/>
                </a:lnTo>
                <a:lnTo>
                  <a:pt x="8363157" y="6596569"/>
                </a:lnTo>
                <a:lnTo>
                  <a:pt x="8363157" y="6577481"/>
                </a:lnTo>
                <a:lnTo>
                  <a:pt x="8406527" y="6577481"/>
                </a:lnTo>
                <a:lnTo>
                  <a:pt x="8406527" y="6554744"/>
                </a:lnTo>
                <a:close/>
                <a:moveTo>
                  <a:pt x="8245574" y="6554725"/>
                </a:moveTo>
                <a:lnTo>
                  <a:pt x="8262081" y="6589122"/>
                </a:lnTo>
                <a:lnTo>
                  <a:pt x="8288525" y="6589122"/>
                </a:lnTo>
                <a:lnTo>
                  <a:pt x="8273961" y="6554725"/>
                </a:lnTo>
                <a:close/>
                <a:moveTo>
                  <a:pt x="8520245" y="6554706"/>
                </a:moveTo>
                <a:lnTo>
                  <a:pt x="8520245" y="6661563"/>
                </a:lnTo>
                <a:lnTo>
                  <a:pt x="8545319" y="6661563"/>
                </a:lnTo>
                <a:lnTo>
                  <a:pt x="8545319" y="6629931"/>
                </a:lnTo>
                <a:lnTo>
                  <a:pt x="8554629" y="6629931"/>
                </a:lnTo>
                <a:cubicBezTo>
                  <a:pt x="8583188" y="6629931"/>
                  <a:pt x="8598419" y="6614040"/>
                  <a:pt x="8598419" y="6592018"/>
                </a:cubicBezTo>
                <a:cubicBezTo>
                  <a:pt x="8598438" y="6570485"/>
                  <a:pt x="8581627" y="6554706"/>
                  <a:pt x="8550345" y="6554706"/>
                </a:cubicBezTo>
                <a:close/>
                <a:moveTo>
                  <a:pt x="8415494" y="6554706"/>
                </a:moveTo>
                <a:lnTo>
                  <a:pt x="8415494" y="6661469"/>
                </a:lnTo>
                <a:cubicBezTo>
                  <a:pt x="8415494" y="6661469"/>
                  <a:pt x="8435865" y="6661582"/>
                  <a:pt x="8448545" y="6661582"/>
                </a:cubicBezTo>
                <a:cubicBezTo>
                  <a:pt x="8493381" y="6661582"/>
                  <a:pt x="8513277" y="6638695"/>
                  <a:pt x="8513277" y="6607213"/>
                </a:cubicBezTo>
                <a:cubicBezTo>
                  <a:pt x="8513277" y="6577123"/>
                  <a:pt x="8492334" y="6554744"/>
                  <a:pt x="8447460" y="6554744"/>
                </a:cubicBezTo>
                <a:lnTo>
                  <a:pt x="8447498" y="6554706"/>
                </a:lnTo>
                <a:cubicBezTo>
                  <a:pt x="8436741" y="6554706"/>
                  <a:pt x="8415494" y="6554706"/>
                  <a:pt x="8415494" y="6554706"/>
                </a:cubicBezTo>
                <a:close/>
                <a:moveTo>
                  <a:pt x="8323899" y="6554706"/>
                </a:moveTo>
                <a:lnTo>
                  <a:pt x="8298692" y="6612648"/>
                </a:lnTo>
                <a:lnTo>
                  <a:pt x="8291857" y="6596644"/>
                </a:lnTo>
                <a:lnTo>
                  <a:pt x="8265622" y="6596644"/>
                </a:lnTo>
                <a:lnTo>
                  <a:pt x="8296941" y="6661977"/>
                </a:lnTo>
                <a:lnTo>
                  <a:pt x="8299854" y="6661977"/>
                </a:lnTo>
                <a:lnTo>
                  <a:pt x="8350592" y="6554706"/>
                </a:lnTo>
                <a:close/>
                <a:moveTo>
                  <a:pt x="8704281" y="6516147"/>
                </a:moveTo>
                <a:lnTo>
                  <a:pt x="8704281" y="6690772"/>
                </a:lnTo>
                <a:lnTo>
                  <a:pt x="8723670" y="6690772"/>
                </a:lnTo>
                <a:lnTo>
                  <a:pt x="8723670" y="6516147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rgbClr val="003865">
                <a:shade val="50000"/>
                <a:alpha val="0"/>
              </a:srgbClr>
            </a:solidFill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4084FA-14AD-964B-87DF-2AC4D0E255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" y="1"/>
            <a:ext cx="7217021" cy="6858000"/>
          </a:xfrm>
          <a:custGeom>
            <a:avLst/>
            <a:gdLst>
              <a:gd name="connsiteX0" fmla="*/ 0 w 7217021"/>
              <a:gd name="connsiteY0" fmla="*/ 0 h 6858000"/>
              <a:gd name="connsiteX1" fmla="*/ 3962555 w 7217021"/>
              <a:gd name="connsiteY1" fmla="*/ 0 h 6858000"/>
              <a:gd name="connsiteX2" fmla="*/ 7217021 w 7217021"/>
              <a:gd name="connsiteY2" fmla="*/ 6858000 h 6858000"/>
              <a:gd name="connsiteX3" fmla="*/ 0 w 721702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17021" h="6858000">
                <a:moveTo>
                  <a:pt x="0" y="0"/>
                </a:moveTo>
                <a:lnTo>
                  <a:pt x="3962555" y="0"/>
                </a:lnTo>
                <a:lnTo>
                  <a:pt x="7217021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3000">
                <a:schemeClr val="accent1"/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  <a:ln>
            <a:solidFill>
              <a:srgbClr val="003865">
                <a:shade val="50000"/>
                <a:alpha val="0"/>
              </a:srgbClr>
            </a:solidFill>
          </a:ln>
        </p:spPr>
        <p:txBody>
          <a:bodyPr wrap="square" lIns="432000" tIns="3600000" rIns="2160000" bIns="64800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bg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bg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bg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5pPr>
            <a:lvl6pPr marL="20638" indent="0">
              <a:buNone/>
              <a:tabLst/>
              <a:defRPr>
                <a:solidFill>
                  <a:schemeClr val="bg1"/>
                </a:solidFill>
              </a:defRPr>
            </a:lvl6pPr>
            <a:lvl7pPr marL="20638" indent="0">
              <a:buNone/>
              <a:tabLst/>
              <a:defRPr>
                <a:solidFill>
                  <a:schemeClr val="bg1"/>
                </a:solidFill>
              </a:defRPr>
            </a:lvl7pPr>
            <a:lvl8pPr marL="20638" indent="0">
              <a:buNone/>
              <a:tabLst/>
              <a:defRPr>
                <a:solidFill>
                  <a:schemeClr val="bg1"/>
                </a:solidFill>
              </a:defRPr>
            </a:lvl8pPr>
            <a:lvl9pPr marL="20638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92DE0F-EE53-C14F-99E3-F9D9748A83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402731"/>
            <a:ext cx="4633495" cy="922907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A164B3-8FCE-4E4B-B360-04ECA3CD2AA8}"/>
              </a:ext>
            </a:extLst>
          </p:cNvPr>
          <p:cNvGrpSpPr/>
          <p:nvPr userDrawn="1"/>
        </p:nvGrpSpPr>
        <p:grpSpPr>
          <a:xfrm>
            <a:off x="-256964" y="2477066"/>
            <a:ext cx="251461" cy="787628"/>
            <a:chOff x="-256404" y="360363"/>
            <a:chExt cx="251461" cy="69215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41D2554-9517-BF41-8E4D-516D3FB68F51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663ADAD1-481A-7B4C-986E-CFA8555641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AA3487CA-6D0B-C049-B9A4-75466E8DD3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EB925DF6-3FFE-BD40-9EE2-29A73ECA1CE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D5BF6DD-76B4-0145-A962-2C82A8F2CC6B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0A982D0-E4B8-1041-813F-BDDC3436A88D}"/>
              </a:ext>
            </a:extLst>
          </p:cNvPr>
          <p:cNvGrpSpPr/>
          <p:nvPr userDrawn="1"/>
        </p:nvGrpSpPr>
        <p:grpSpPr>
          <a:xfrm>
            <a:off x="-256964" y="3622630"/>
            <a:ext cx="251461" cy="1365066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83CFF79-5962-9D49-8E42-F2AF4C267204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6F525C6-8B46-4140-AF00-48FB794ECBC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A604655F-D15F-D843-AA38-CAA6FDF115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3ACDE28-DF49-C14A-B556-C3FBEB96DDE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09205E5-0F35-EB40-8B2F-8E547892AACD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74FE977B-E645-754F-A6D9-0F8ACDA35EAF}"/>
              </a:ext>
            </a:extLst>
          </p:cNvPr>
          <p:cNvSpPr/>
          <p:nvPr userDrawn="1"/>
        </p:nvSpPr>
        <p:spPr>
          <a:xfrm>
            <a:off x="9541497" y="162442"/>
            <a:ext cx="2819400" cy="814510"/>
          </a:xfrm>
          <a:prstGeom prst="rect">
            <a:avLst/>
          </a:prstGeom>
          <a:solidFill>
            <a:schemeClr val="bg1"/>
          </a:solidFill>
          <a:ln w="254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FC01FD0-DC6E-0747-B9A3-3D0A61805785}"/>
              </a:ext>
            </a:extLst>
          </p:cNvPr>
          <p:cNvSpPr txBox="1"/>
          <p:nvPr userDrawn="1"/>
        </p:nvSpPr>
        <p:spPr>
          <a:xfrm>
            <a:off x="10147060" y="306441"/>
            <a:ext cx="2129588" cy="5078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l"/>
            <a:r>
              <a:rPr lang="en-US" sz="11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rPr>
              <a:t>Access programmed text formats by using the ‘Indent More’ button to change the indent level.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1ADEDEE9-2E86-2D43-BC1C-F833B71D59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8882" t="5165" r="-1"/>
          <a:stretch/>
        </p:blipFill>
        <p:spPr>
          <a:xfrm>
            <a:off x="9694938" y="411250"/>
            <a:ext cx="324017" cy="289055"/>
          </a:xfrm>
          <a:prstGeom prst="round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4F5FC086-2AFA-E34A-9BC9-834E9C2AD811}"/>
              </a:ext>
            </a:extLst>
          </p:cNvPr>
          <p:cNvGrpSpPr/>
          <p:nvPr userDrawn="1"/>
        </p:nvGrpSpPr>
        <p:grpSpPr>
          <a:xfrm>
            <a:off x="9521833" y="1994856"/>
            <a:ext cx="2754815" cy="6013825"/>
            <a:chOff x="9521833" y="2167456"/>
            <a:chExt cx="2754815" cy="6013825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FE94FA6-7F73-404E-B7F6-E23829C5FAF7}"/>
                </a:ext>
              </a:extLst>
            </p:cNvPr>
            <p:cNvSpPr txBox="1"/>
            <p:nvPr userDrawn="1"/>
          </p:nvSpPr>
          <p:spPr>
            <a:xfrm>
              <a:off x="9558507" y="2167456"/>
              <a:ext cx="164468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FBCA6E4-9782-E348-A2BA-54F7934E4B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2370073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1BD7423-242E-5345-8960-AE7228257A9D}"/>
                </a:ext>
              </a:extLst>
            </p:cNvPr>
            <p:cNvSpPr txBox="1"/>
            <p:nvPr userDrawn="1"/>
          </p:nvSpPr>
          <p:spPr>
            <a:xfrm>
              <a:off x="9686426" y="3228383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3084C70-8D46-D64B-9F1E-ECB869353637}"/>
                </a:ext>
              </a:extLst>
            </p:cNvPr>
            <p:cNvSpPr/>
            <p:nvPr userDrawn="1"/>
          </p:nvSpPr>
          <p:spPr>
            <a:xfrm>
              <a:off x="9541497" y="6769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01420C3-DFA0-9C4F-813C-BAFA8958E874}"/>
                </a:ext>
              </a:extLst>
            </p:cNvPr>
            <p:cNvSpPr txBox="1"/>
            <p:nvPr userDrawn="1"/>
          </p:nvSpPr>
          <p:spPr>
            <a:xfrm>
              <a:off x="9907688" y="6898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CB867BF1-BBC5-8C4A-97CA-FD5D5D7826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6909049"/>
              <a:ext cx="155227" cy="155227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62E6250-142A-854D-8FFE-79C80019AAB8}"/>
                </a:ext>
              </a:extLst>
            </p:cNvPr>
            <p:cNvSpPr txBox="1"/>
            <p:nvPr userDrawn="1"/>
          </p:nvSpPr>
          <p:spPr>
            <a:xfrm>
              <a:off x="9716735" y="7478749"/>
              <a:ext cx="2422981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34938" lvl="1" indent="-13176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8381C9B-F145-0B48-ADFA-FE8B8E0A8A82}"/>
                </a:ext>
              </a:extLst>
            </p:cNvPr>
            <p:cNvSpPr txBox="1"/>
            <p:nvPr userDrawn="1"/>
          </p:nvSpPr>
          <p:spPr>
            <a:xfrm>
              <a:off x="9716735" y="7159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22092C6-EF53-B243-83B3-2B8877623AFD}"/>
                </a:ext>
              </a:extLst>
            </p:cNvPr>
            <p:cNvSpPr txBox="1"/>
            <p:nvPr userDrawn="1"/>
          </p:nvSpPr>
          <p:spPr>
            <a:xfrm>
              <a:off x="9716735" y="7928426"/>
              <a:ext cx="2422981" cy="1384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6FED399-29B3-9447-940E-56B9040B4EF7}"/>
                </a:ext>
              </a:extLst>
            </p:cNvPr>
            <p:cNvSpPr/>
            <p:nvPr userDrawn="1"/>
          </p:nvSpPr>
          <p:spPr>
            <a:xfrm>
              <a:off x="9541497" y="5413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5CE3E14-463F-4D4E-B0C6-D4F7A0935AFF}"/>
                </a:ext>
              </a:extLst>
            </p:cNvPr>
            <p:cNvSpPr txBox="1"/>
            <p:nvPr userDrawn="1"/>
          </p:nvSpPr>
          <p:spPr>
            <a:xfrm>
              <a:off x="9907688" y="5542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BC8A9006-4EDB-7C4F-9624-E02C261E56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5552392"/>
              <a:ext cx="155227" cy="155227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28125A0-17EA-6B41-8117-DCA0C5236435}"/>
                </a:ext>
              </a:extLst>
            </p:cNvPr>
            <p:cNvSpPr txBox="1"/>
            <p:nvPr userDrawn="1"/>
          </p:nvSpPr>
          <p:spPr>
            <a:xfrm>
              <a:off x="9701720" y="5806293"/>
              <a:ext cx="2384904" cy="73866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C5041B41-AD98-EE4B-8F39-82AFCFAEC6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3684" t="12097" r="43371" b="20368"/>
            <a:stretch/>
          </p:blipFill>
          <p:spPr>
            <a:xfrm>
              <a:off x="11498723" y="5890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8DAA1F3-3919-A74B-B632-FF6C6D301C4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2517603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2652DDD-CB8F-E945-8AF3-2BB91733F59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3013157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91C757D-B387-E847-9E94-2F6EEF57801C}"/>
                </a:ext>
              </a:extLst>
            </p:cNvPr>
            <p:cNvSpPr txBox="1"/>
            <p:nvPr userDrawn="1"/>
          </p:nvSpPr>
          <p:spPr>
            <a:xfrm>
              <a:off x="9686426" y="2492576"/>
              <a:ext cx="2453290" cy="65146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Select and download images from the Marketing Resource Database.</a:t>
              </a:r>
            </a:p>
            <a:p>
              <a:pPr lvl="0"/>
              <a:r>
                <a:rPr lang="en-US" dirty="0"/>
                <a:t>Add the image to the placeholder.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AFE63F6-9FBD-C64E-80C3-50B9F353BF5D}"/>
                </a:ext>
              </a:extLst>
            </p:cNvPr>
            <p:cNvSpPr txBox="1"/>
            <p:nvPr userDrawn="1"/>
          </p:nvSpPr>
          <p:spPr>
            <a:xfrm>
              <a:off x="9674267" y="3511688"/>
              <a:ext cx="2374733" cy="2908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A7141EF-2646-B14F-ABCC-C67B27BD3A7C}"/>
                </a:ext>
              </a:extLst>
            </p:cNvPr>
            <p:cNvSpPr txBox="1"/>
            <p:nvPr userDrawn="1"/>
          </p:nvSpPr>
          <p:spPr>
            <a:xfrm>
              <a:off x="9686426" y="3926945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1D9FCFA-F40E-B24E-8540-B475629EECD1}"/>
                </a:ext>
              </a:extLst>
            </p:cNvPr>
            <p:cNvSpPr txBox="1"/>
            <p:nvPr userDrawn="1"/>
          </p:nvSpPr>
          <p:spPr>
            <a:xfrm>
              <a:off x="9686426" y="4647035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B36E0C2-0DDC-0E43-A8B5-AAD3722ABC98}"/>
                </a:ext>
              </a:extLst>
            </p:cNvPr>
            <p:cNvSpPr txBox="1"/>
            <p:nvPr userDrawn="1"/>
          </p:nvSpPr>
          <p:spPr>
            <a:xfrm>
              <a:off x="9674267" y="5077598"/>
              <a:ext cx="2374733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A5BBEC5F-5FC4-4543-B661-598C68695314}"/>
              </a:ext>
            </a:extLst>
          </p:cNvPr>
          <p:cNvSpPr txBox="1"/>
          <p:nvPr userDrawn="1"/>
        </p:nvSpPr>
        <p:spPr>
          <a:xfrm>
            <a:off x="9558507" y="1119891"/>
            <a:ext cx="2236190" cy="169277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en-US"/>
            </a:defPPr>
            <a:lvl1pPr>
              <a:defRPr sz="11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>
                <a:solidFill>
                  <a:schemeClr val="bg1"/>
                </a:solidFill>
              </a:rPr>
              <a:t>TEXT FORMATS IN THIS LAYOUT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8C6DE0C-61AB-CD48-9657-673BA80A6635}"/>
              </a:ext>
            </a:extLst>
          </p:cNvPr>
          <p:cNvCxnSpPr>
            <a:cxnSpLocks/>
          </p:cNvCxnSpPr>
          <p:nvPr userDrawn="1"/>
        </p:nvCxnSpPr>
        <p:spPr>
          <a:xfrm>
            <a:off x="9558507" y="1322508"/>
            <a:ext cx="2639328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41291117-3B8F-E84F-819C-E9D1B31461BA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7359337" y="6048425"/>
            <a:ext cx="1343822" cy="30469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2FA3C1-DFDE-954E-A045-DA2C23D87C79}"/>
              </a:ext>
            </a:extLst>
          </p:cNvPr>
          <p:cNvSpPr>
            <a:spLocks noGrp="1"/>
          </p:cNvSpPr>
          <p:nvPr userDrawn="1">
            <p:ph type="dt" sz="half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3C21A6-2F34-CB41-9CB8-465C5A165E2E}"/>
              </a:ext>
            </a:extLst>
          </p:cNvPr>
          <p:cNvSpPr>
            <a:spLocks noGrp="1"/>
          </p:cNvSpPr>
          <p:nvPr userDrawn="1"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A57F9-6F4F-954D-883C-298340BAC4E8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BB7448AF-7E4C-3B4B-8EEC-CADF56A2032C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672BAF4C-241C-FC45-8467-60B10AF7AB65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590F8A25-E020-6846-8351-4AC93F1283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5BB4FF16-C4BE-2F41-97E4-CA7412FE1A7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FBF7B4D-D315-D841-998E-600E7FD39B85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262CB220-7BBD-9A40-8EFE-DBF481D41325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84" name="Straight Connector 83">
                  <a:extLst>
                    <a:ext uri="{FF2B5EF4-FFF2-40B4-BE49-F238E27FC236}">
                      <a16:creationId xmlns:a16="http://schemas.microsoft.com/office/drawing/2014/main" id="{4C0212DE-4F3A-064A-8852-84F9520CE40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54F88236-9314-6245-BA34-4C419A15253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208F0B2C-2ECF-FF4E-9454-5EE223675D05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52854B52-8256-764E-870F-8B12DFC75805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82" name="Straight Arrow Connector 81">
                <a:extLst>
                  <a:ext uri="{FF2B5EF4-FFF2-40B4-BE49-F238E27FC236}">
                    <a16:creationId xmlns:a16="http://schemas.microsoft.com/office/drawing/2014/main" id="{EE3A4062-FF2D-804A-88FA-53139017D530}"/>
                  </a:ext>
                </a:extLst>
              </p:cNvPr>
              <p:cNvCxnSpPr>
                <a:cxnSpLocks/>
                <a:stCxn id="81" idx="1"/>
                <a:endCxn id="86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Arrow Connector 82">
                <a:extLst>
                  <a:ext uri="{FF2B5EF4-FFF2-40B4-BE49-F238E27FC236}">
                    <a16:creationId xmlns:a16="http://schemas.microsoft.com/office/drawing/2014/main" id="{89961C7F-EE2F-4844-874C-FABF729B3E38}"/>
                  </a:ext>
                </a:extLst>
              </p:cNvPr>
              <p:cNvCxnSpPr>
                <a:cxnSpLocks/>
                <a:stCxn id="81" idx="3"/>
                <a:endCxn id="86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93795943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Headsho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733D6C8-2947-664C-94C0-9AD79C24D8BC}"/>
              </a:ext>
            </a:extLst>
          </p:cNvPr>
          <p:cNvSpPr/>
          <p:nvPr userDrawn="1"/>
        </p:nvSpPr>
        <p:spPr>
          <a:xfrm flipH="1">
            <a:off x="-1" y="2402808"/>
            <a:ext cx="9144000" cy="3294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B98A494-7A59-1347-AC1A-9CEFC6F3BA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55972" y="2402809"/>
            <a:ext cx="4288028" cy="3294098"/>
          </a:xfrm>
          <a:custGeom>
            <a:avLst/>
            <a:gdLst>
              <a:gd name="connsiteX0" fmla="*/ 0 w 4288028"/>
              <a:gd name="connsiteY0" fmla="*/ 0 h 3294098"/>
              <a:gd name="connsiteX1" fmla="*/ 4288028 w 4288028"/>
              <a:gd name="connsiteY1" fmla="*/ 0 h 3294098"/>
              <a:gd name="connsiteX2" fmla="*/ 4288028 w 4288028"/>
              <a:gd name="connsiteY2" fmla="*/ 3294098 h 3294098"/>
              <a:gd name="connsiteX3" fmla="*/ 1563214 w 4288028"/>
              <a:gd name="connsiteY3" fmla="*/ 3294098 h 329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8028" h="3294098">
                <a:moveTo>
                  <a:pt x="0" y="0"/>
                </a:moveTo>
                <a:lnTo>
                  <a:pt x="4288028" y="0"/>
                </a:lnTo>
                <a:lnTo>
                  <a:pt x="4288028" y="3294098"/>
                </a:lnTo>
                <a:lnTo>
                  <a:pt x="1563214" y="329409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 or headsho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219067"/>
            <a:ext cx="8280400" cy="9144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714222"/>
            <a:ext cx="4140200" cy="26712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20638" indent="0">
              <a:spcAft>
                <a:spcPts val="300"/>
              </a:spcAft>
              <a:buFont typeface="Arial" panose="020B0604020202020204" pitchFamily="34" charset="0"/>
              <a:buNone/>
              <a:tabLst/>
              <a:defRPr sz="1400" b="1">
                <a:solidFill>
                  <a:schemeClr val="bg1"/>
                </a:solidFill>
              </a:defRPr>
            </a:lvl1pPr>
            <a:lvl2pPr marL="20638" indent="0">
              <a:spcAft>
                <a:spcPts val="200"/>
              </a:spcAft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2pPr>
            <a:lvl3pPr marL="20638" indent="0">
              <a:spcAft>
                <a:spcPts val="200"/>
              </a:spcAft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3pPr>
            <a:lvl4pPr marL="20638" indent="0">
              <a:spcAft>
                <a:spcPts val="200"/>
              </a:spcAft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4pPr>
            <a:lvl5pPr marL="20638" indent="0">
              <a:spcAft>
                <a:spcPts val="200"/>
              </a:spcAft>
              <a:buFont typeface="Arial" panose="020B0604020202020204" pitchFamily="34" charset="0"/>
              <a:buNone/>
              <a:tabLst/>
              <a:defRPr sz="1400">
                <a:solidFill>
                  <a:schemeClr val="bg1"/>
                </a:solidFill>
              </a:defRPr>
            </a:lvl5pPr>
            <a:lvl6pPr marL="20638" indent="0">
              <a:buNone/>
              <a:tabLst/>
              <a:defRPr>
                <a:solidFill>
                  <a:schemeClr val="bg1"/>
                </a:solidFill>
              </a:defRPr>
            </a:lvl6pPr>
            <a:lvl7pPr marL="20638" indent="0">
              <a:buNone/>
              <a:tabLst/>
              <a:defRPr>
                <a:solidFill>
                  <a:schemeClr val="bg1"/>
                </a:solidFill>
              </a:defRPr>
            </a:lvl7pPr>
            <a:lvl8pPr marL="20638" indent="0">
              <a:buNone/>
              <a:tabLst/>
              <a:defRPr>
                <a:solidFill>
                  <a:schemeClr val="bg1"/>
                </a:solidFill>
              </a:defRPr>
            </a:lvl8pPr>
            <a:lvl9pPr marL="20638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8154AF59-E4FF-3346-B926-57EDAB1FE062}"/>
              </a:ext>
            </a:extLst>
          </p:cNvPr>
          <p:cNvGrpSpPr/>
          <p:nvPr userDrawn="1"/>
        </p:nvGrpSpPr>
        <p:grpSpPr>
          <a:xfrm>
            <a:off x="-256964" y="1261817"/>
            <a:ext cx="251461" cy="787628"/>
            <a:chOff x="-256404" y="360363"/>
            <a:chExt cx="251461" cy="692152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36AB50BF-4718-484C-B6EA-0C330459021B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A30C18D2-1D99-164F-A515-FE124A48FC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E10DDE84-4C05-1A4A-A2D8-AAE8FB3D34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0FEB97B8-81FD-4541-B92C-ADB8AD94CD4E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D9FF21D-3A71-2548-A8D3-8888EABDC88B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5D3DB86-D979-BC43-82F9-D7DB16BFB915}"/>
              </a:ext>
            </a:extLst>
          </p:cNvPr>
          <p:cNvGrpSpPr/>
          <p:nvPr userDrawn="1"/>
        </p:nvGrpSpPr>
        <p:grpSpPr>
          <a:xfrm>
            <a:off x="-256964" y="3367324"/>
            <a:ext cx="251461" cy="1365066"/>
            <a:chOff x="-256404" y="360363"/>
            <a:chExt cx="251461" cy="692152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BE9AB7B-CC36-1C48-8850-B428D53FD54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383BC659-DE1A-AD46-BABB-4216D5152A6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6C4EDB7-BE73-C648-8454-EDBF3A3BCEC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98F7CC41-3485-F345-AD6D-DA420283A295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CDD96D5-24AE-C84E-9626-2669E4455CE7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3E31308-5073-4344-9CE0-58B65E2EFAD8}"/>
              </a:ext>
            </a:extLst>
          </p:cNvPr>
          <p:cNvGrpSpPr/>
          <p:nvPr userDrawn="1"/>
        </p:nvGrpSpPr>
        <p:grpSpPr>
          <a:xfrm>
            <a:off x="9399182" y="-1"/>
            <a:ext cx="2961715" cy="9888233"/>
            <a:chOff x="9399182" y="-1"/>
            <a:chExt cx="2961715" cy="988823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E76269E-8C78-D343-B169-EBF41DC6C7A1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74868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F246FA3C-064F-9848-8568-CFCFAD40560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44021" b="6017"/>
            <a:stretch/>
          </p:blipFill>
          <p:spPr>
            <a:xfrm>
              <a:off x="9558506" y="1323797"/>
              <a:ext cx="2632538" cy="532435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671C85D-BA5D-4D49-929C-B172CAD4A8DC}"/>
                </a:ext>
              </a:extLst>
            </p:cNvPr>
            <p:cNvSpPr txBox="1"/>
            <p:nvPr userDrawn="1"/>
          </p:nvSpPr>
          <p:spPr>
            <a:xfrm>
              <a:off x="9558507" y="3874407"/>
              <a:ext cx="164468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6343EF-AD02-7847-99E6-3F12C4DE8D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7702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89BD887-3769-7E4A-84E6-A89C01DFBF0B}"/>
                </a:ext>
              </a:extLst>
            </p:cNvPr>
            <p:cNvSpPr txBox="1"/>
            <p:nvPr userDrawn="1"/>
          </p:nvSpPr>
          <p:spPr>
            <a:xfrm>
              <a:off x="9686426" y="4935334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3BB7DFA5-86A8-2241-81D4-51CD6B2BCFF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9FA83002-5E66-5C4C-9655-0BA18B87C2B0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5E1F513F-7453-184B-BF9C-0FE3D213F37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DA1384A2-99EA-8F47-831A-0F69FD1BD1E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936DB6E4-613B-B043-BEEC-D9B02A473D15}"/>
                </a:ext>
              </a:extLst>
            </p:cNvPr>
            <p:cNvGrpSpPr/>
            <p:nvPr userDrawn="1"/>
          </p:nvGrpSpPr>
          <p:grpSpPr>
            <a:xfrm>
              <a:off x="9541497" y="8476917"/>
              <a:ext cx="2735151" cy="1411315"/>
              <a:chOff x="9296567" y="4910411"/>
              <a:chExt cx="2735151" cy="1411315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B4B99D08-66F1-204B-AE0E-AE40EE746E64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D89DB38A-645F-144A-95C6-B29245BB782C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64" name="Graphic 63">
                <a:extLst>
                  <a:ext uri="{FF2B5EF4-FFF2-40B4-BE49-F238E27FC236}">
                    <a16:creationId xmlns:a16="http://schemas.microsoft.com/office/drawing/2014/main" id="{5844EBB1-69EC-374A-973E-FDB923CB63D4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2A7D2CE2-0888-254D-8182-E8B9B984C27C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4BEAE704-A4F2-8846-BBA0-A78F408CC4F6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E827C2E6-4B03-3E40-A5C3-2897F09BF8B9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5BD4996-1151-B14E-92B4-B6EB0B20C0D1}"/>
                </a:ext>
              </a:extLst>
            </p:cNvPr>
            <p:cNvGrpSpPr/>
            <p:nvPr userDrawn="1"/>
          </p:nvGrpSpPr>
          <p:grpSpPr>
            <a:xfrm>
              <a:off x="9541497" y="7120261"/>
              <a:ext cx="2735151" cy="1280928"/>
              <a:chOff x="9286315" y="6976989"/>
              <a:chExt cx="2735151" cy="1280928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500FE895-1720-AB4B-9E0F-91C2C382303D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1B155C23-A6FC-4149-BF55-6313E95865F9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D666C49D-563C-9144-B854-B5D8FFA16E3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3CBE64FA-7748-1349-89EC-902B4A25BD00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EBED6E0D-C534-0B4E-9ADA-CEEA5779E7B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ADEF5FC-92F8-0E47-9385-A4F9D9B30AF8}"/>
                </a:ext>
              </a:extLst>
            </p:cNvPr>
            <p:cNvGrpSpPr/>
            <p:nvPr userDrawn="1"/>
          </p:nvGrpSpPr>
          <p:grpSpPr>
            <a:xfrm>
              <a:off x="9521833" y="4199527"/>
              <a:ext cx="2617883" cy="651460"/>
              <a:chOff x="12352022" y="513115"/>
              <a:chExt cx="2617883" cy="651460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67B0499E-8D11-9D4A-A286-DEBDE9610976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D0D2B337-235A-7742-931F-C88DF26DF943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57FC906-94A4-9340-B80B-5A4321C7FD97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3DD3CB3-E4D8-D945-AB52-C6152FB5CEEE}"/>
                </a:ext>
              </a:extLst>
            </p:cNvPr>
            <p:cNvSpPr txBox="1"/>
            <p:nvPr userDrawn="1"/>
          </p:nvSpPr>
          <p:spPr>
            <a:xfrm>
              <a:off x="9674267" y="5218639"/>
              <a:ext cx="2374733" cy="2908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2294DF0-4D25-5543-B7E9-64BC32586F13}"/>
                </a:ext>
              </a:extLst>
            </p:cNvPr>
            <p:cNvSpPr txBox="1"/>
            <p:nvPr userDrawn="1"/>
          </p:nvSpPr>
          <p:spPr>
            <a:xfrm>
              <a:off x="9686426" y="5633896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7593A18-4AA6-1740-8742-F41540517E1F}"/>
                </a:ext>
              </a:extLst>
            </p:cNvPr>
            <p:cNvSpPr txBox="1"/>
            <p:nvPr userDrawn="1"/>
          </p:nvSpPr>
          <p:spPr>
            <a:xfrm>
              <a:off x="9686426" y="6353986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56F856D-C4D3-334A-B1FE-BDBA5CA3B0E1}"/>
                </a:ext>
              </a:extLst>
            </p:cNvPr>
            <p:cNvSpPr txBox="1"/>
            <p:nvPr userDrawn="1"/>
          </p:nvSpPr>
          <p:spPr>
            <a:xfrm>
              <a:off x="9674267" y="6784549"/>
              <a:ext cx="2374733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B0AAF54-7965-B142-B874-EE47EADD6C0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9DED1D72-DEB5-E94A-A957-290E83552A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B557C09-E337-D24A-941E-6A7414CBA1D8}"/>
                </a:ext>
              </a:extLst>
            </p:cNvPr>
            <p:cNvGrpSpPr/>
            <p:nvPr userDrawn="1"/>
          </p:nvGrpSpPr>
          <p:grpSpPr>
            <a:xfrm>
              <a:off x="9541497" y="1993090"/>
              <a:ext cx="2735151" cy="1739504"/>
              <a:chOff x="9541497" y="2125825"/>
              <a:chExt cx="2735151" cy="1739504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3EFFB818-B95A-9A4F-AA82-9F4D5FF20275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DEC5F26B-4D18-5442-B88B-C1A3C02042FF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74" name="Graphic 73">
                <a:extLst>
                  <a:ext uri="{FF2B5EF4-FFF2-40B4-BE49-F238E27FC236}">
                    <a16:creationId xmlns:a16="http://schemas.microsoft.com/office/drawing/2014/main" id="{474F1871-E7AA-694F-A055-112CE85079D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E5FA5F2C-CB33-3742-94F7-FCC2AF53A1E3}"/>
                  </a:ext>
                </a:extLst>
              </p:cNvPr>
              <p:cNvSpPr txBox="1"/>
              <p:nvPr userDrawn="1"/>
            </p:nvSpPr>
            <p:spPr>
              <a:xfrm>
                <a:off x="9701720" y="2880063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2E1A285B-D1A8-7542-B57C-1FB7F1DE582E}"/>
                  </a:ext>
                </a:extLst>
              </p:cNvPr>
              <p:cNvSpPr txBox="1"/>
              <p:nvPr userDrawn="1"/>
            </p:nvSpPr>
            <p:spPr>
              <a:xfrm>
                <a:off x="9694938" y="2522575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9A7FC49C-9563-8045-A659-511775C12BE2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969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CD793767-48F5-464F-88A1-9CCB91E4C405}"/>
                  </a:ext>
                </a:extLst>
              </p:cNvPr>
              <p:cNvSpPr txBox="1"/>
              <p:nvPr userDrawn="1"/>
            </p:nvSpPr>
            <p:spPr>
              <a:xfrm>
                <a:off x="9701720" y="3337263"/>
                <a:ext cx="2384904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</a:t>
                </a:r>
                <a:b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101078BD-505E-0F4C-AD76-8DD34B7498C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7C71C768-6B06-514A-9B09-14236993DABA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9B95636A-1056-924A-97B4-C3A6F8C3B1B4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A3BD970C-9E24-EF4F-8A3A-73AB355423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05D3E976-ACCC-3442-8667-B012B51D2E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0A1A29BA-21FE-BF4F-A419-8BEDC8913E4C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07CF734D-3FF9-4E47-A5C5-1D33DD70F237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A3D8645B-FB11-AF4F-A236-5EEAA664B356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43479ADB-FA23-394E-8391-00230A9B7BB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5CE960C4-BA95-7E46-819D-BD872CA8C5ED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D1DED7A1-A6E1-1B4A-B40C-99489D2EB2D3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83" name="Straight Arrow Connector 82">
                <a:extLst>
                  <a:ext uri="{FF2B5EF4-FFF2-40B4-BE49-F238E27FC236}">
                    <a16:creationId xmlns:a16="http://schemas.microsoft.com/office/drawing/2014/main" id="{EA4680D5-EBE2-9445-9E04-4B3E32771EF3}"/>
                  </a:ext>
                </a:extLst>
              </p:cNvPr>
              <p:cNvCxnSpPr>
                <a:cxnSpLocks/>
                <a:stCxn id="82" idx="1"/>
                <a:endCxn id="87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Arrow Connector 83">
                <a:extLst>
                  <a:ext uri="{FF2B5EF4-FFF2-40B4-BE49-F238E27FC236}">
                    <a16:creationId xmlns:a16="http://schemas.microsoft.com/office/drawing/2014/main" id="{1C4946BD-BA2D-B243-9830-431EA0108821}"/>
                  </a:ext>
                </a:extLst>
              </p:cNvPr>
              <p:cNvCxnSpPr>
                <a:cxnSpLocks/>
                <a:stCxn id="82" idx="3"/>
                <a:endCxn id="87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52025671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Headshot.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733D6C8-2947-664C-94C0-9AD79C24D8BC}"/>
              </a:ext>
            </a:extLst>
          </p:cNvPr>
          <p:cNvSpPr/>
          <p:nvPr userDrawn="1"/>
        </p:nvSpPr>
        <p:spPr>
          <a:xfrm flipH="1">
            <a:off x="-1" y="2402808"/>
            <a:ext cx="9144000" cy="3294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B98A494-7A59-1347-AC1A-9CEFC6F3BA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55972" y="2402809"/>
            <a:ext cx="4288028" cy="3294098"/>
          </a:xfrm>
          <a:custGeom>
            <a:avLst/>
            <a:gdLst>
              <a:gd name="connsiteX0" fmla="*/ 0 w 4288028"/>
              <a:gd name="connsiteY0" fmla="*/ 0 h 3294098"/>
              <a:gd name="connsiteX1" fmla="*/ 4288028 w 4288028"/>
              <a:gd name="connsiteY1" fmla="*/ 0 h 3294098"/>
              <a:gd name="connsiteX2" fmla="*/ 4288028 w 4288028"/>
              <a:gd name="connsiteY2" fmla="*/ 3294098 h 3294098"/>
              <a:gd name="connsiteX3" fmla="*/ 1563214 w 4288028"/>
              <a:gd name="connsiteY3" fmla="*/ 3294098 h 329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8028" h="3294098">
                <a:moveTo>
                  <a:pt x="0" y="0"/>
                </a:moveTo>
                <a:lnTo>
                  <a:pt x="4288028" y="0"/>
                </a:lnTo>
                <a:lnTo>
                  <a:pt x="4288028" y="3294098"/>
                </a:lnTo>
                <a:lnTo>
                  <a:pt x="1563214" y="329409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 or headsho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219067"/>
            <a:ext cx="8280400" cy="9144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714222"/>
            <a:ext cx="4140200" cy="26712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bg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bg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bg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5pPr>
            <a:lvl6pPr marL="20638" indent="0">
              <a:buNone/>
              <a:tabLst/>
              <a:defRPr>
                <a:solidFill>
                  <a:schemeClr val="bg1"/>
                </a:solidFill>
              </a:defRPr>
            </a:lvl6pPr>
            <a:lvl7pPr marL="20638" indent="0">
              <a:buNone/>
              <a:tabLst/>
              <a:defRPr>
                <a:solidFill>
                  <a:schemeClr val="bg1"/>
                </a:solidFill>
              </a:defRPr>
            </a:lvl7pPr>
            <a:lvl8pPr marL="20638" indent="0">
              <a:buNone/>
              <a:tabLst/>
              <a:defRPr>
                <a:solidFill>
                  <a:schemeClr val="bg1"/>
                </a:solidFill>
              </a:defRPr>
            </a:lvl8pPr>
            <a:lvl9pPr marL="20638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724098" y="5966248"/>
            <a:ext cx="2151407" cy="555202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4B76D37E-5ECE-5649-83FB-005816FB86D9}"/>
              </a:ext>
            </a:extLst>
          </p:cNvPr>
          <p:cNvGrpSpPr/>
          <p:nvPr userDrawn="1"/>
        </p:nvGrpSpPr>
        <p:grpSpPr>
          <a:xfrm>
            <a:off x="-256964" y="1261817"/>
            <a:ext cx="251461" cy="787628"/>
            <a:chOff x="-256404" y="360363"/>
            <a:chExt cx="251461" cy="692152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4BFAEFD-2E24-574A-9016-E522BCB9693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501084F3-6071-5F42-A83E-53097D95E0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766F9AD-50E4-E34E-871C-16B6E7ACA4B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E413019-A316-E248-A2E2-D7E00CC76392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1EC56EE-E78A-C64C-B03F-9E33CFCFF6FF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C062D5B-B78D-A74B-A752-F2940C2B159C}"/>
              </a:ext>
            </a:extLst>
          </p:cNvPr>
          <p:cNvGrpSpPr/>
          <p:nvPr userDrawn="1"/>
        </p:nvGrpSpPr>
        <p:grpSpPr>
          <a:xfrm>
            <a:off x="-256964" y="3367324"/>
            <a:ext cx="251461" cy="1365066"/>
            <a:chOff x="-256404" y="360363"/>
            <a:chExt cx="251461" cy="692152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BC39A059-6049-B647-8FF9-32A912D1AF52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0603B59-8C79-A942-9F70-EF5E623351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C9B266A-8246-7046-985E-1A6B65FD28A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70BB019F-7AF8-454E-96F4-D6A61F4F7394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101D5C1-C72F-4340-96C3-42253FAF2B21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10B09069-46D3-FE46-8D6A-F47A3CA7EF25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060DC74F-3798-0F41-A21A-C9A161BF1870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CD608C57-7514-154B-836A-4010788A31A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ADB68B65-F11B-344C-ACD4-BCE9587B6D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54682FFD-D655-B046-976E-07664624D4EA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F1D720E4-E69C-4D43-8106-8E51E975FE1F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C9C8E860-C048-794C-BB48-55334FB486B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3ECCBB4D-A419-1C4F-A538-20EABEC4480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A64A141F-7CF9-0543-947A-2E28885429A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42762588-74B6-AA48-AAEF-8478DA61532A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27" name="Straight Arrow Connector 126">
                <a:extLst>
                  <a:ext uri="{FF2B5EF4-FFF2-40B4-BE49-F238E27FC236}">
                    <a16:creationId xmlns:a16="http://schemas.microsoft.com/office/drawing/2014/main" id="{EA604FD8-087C-894E-AA97-B1F828E874DA}"/>
                  </a:ext>
                </a:extLst>
              </p:cNvPr>
              <p:cNvCxnSpPr>
                <a:cxnSpLocks/>
                <a:stCxn id="126" idx="1"/>
                <a:endCxn id="131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Arrow Connector 127">
                <a:extLst>
                  <a:ext uri="{FF2B5EF4-FFF2-40B4-BE49-F238E27FC236}">
                    <a16:creationId xmlns:a16="http://schemas.microsoft.com/office/drawing/2014/main" id="{0840AE4A-3225-144E-8C2B-CC8459C4871A}"/>
                  </a:ext>
                </a:extLst>
              </p:cNvPr>
              <p:cNvCxnSpPr>
                <a:cxnSpLocks/>
                <a:stCxn id="126" idx="3"/>
                <a:endCxn id="131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8952B065-0183-8440-93EE-C2E8983124E2}"/>
              </a:ext>
            </a:extLst>
          </p:cNvPr>
          <p:cNvGrpSpPr/>
          <p:nvPr userDrawn="1"/>
        </p:nvGrpSpPr>
        <p:grpSpPr>
          <a:xfrm>
            <a:off x="9399182" y="-1"/>
            <a:ext cx="2961715" cy="9888233"/>
            <a:chOff x="9399182" y="-1"/>
            <a:chExt cx="2961715" cy="9888233"/>
          </a:xfrm>
        </p:grpSpPr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8A328D57-A69E-254D-A262-CC2989A8C417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74868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2F15995A-2BAF-7E43-8B52-B02F97201E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44021" b="6017"/>
            <a:stretch/>
          </p:blipFill>
          <p:spPr>
            <a:xfrm>
              <a:off x="9558506" y="1323797"/>
              <a:ext cx="2632538" cy="532435"/>
            </a:xfrm>
            <a:prstGeom prst="rect">
              <a:avLst/>
            </a:prstGeom>
          </p:spPr>
        </p:pic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5D176143-8C1A-B24B-8CB3-AFB08B25554B}"/>
                </a:ext>
              </a:extLst>
            </p:cNvPr>
            <p:cNvSpPr txBox="1"/>
            <p:nvPr userDrawn="1"/>
          </p:nvSpPr>
          <p:spPr>
            <a:xfrm>
              <a:off x="9558507" y="3874407"/>
              <a:ext cx="164468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1E87ACF-E072-1942-8902-BC3DECAE4A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7702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230E43A-DEF1-584B-AD63-0D994D37359D}"/>
                </a:ext>
              </a:extLst>
            </p:cNvPr>
            <p:cNvSpPr txBox="1"/>
            <p:nvPr userDrawn="1"/>
          </p:nvSpPr>
          <p:spPr>
            <a:xfrm>
              <a:off x="9686426" y="4935334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78101614-52BC-7B46-84D7-2461ED2FA0EA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40254D00-389E-3940-B811-35C2C8922696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0B1CE189-800B-DB49-86F8-D1D7860D619D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75" name="Picture 174">
                <a:extLst>
                  <a:ext uri="{FF2B5EF4-FFF2-40B4-BE49-F238E27FC236}">
                    <a16:creationId xmlns:a16="http://schemas.microsoft.com/office/drawing/2014/main" id="{8FB38671-F42B-984F-89E2-28269106487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A5DCE01F-D854-EE4B-8C74-2A5FD60EB92D}"/>
                </a:ext>
              </a:extLst>
            </p:cNvPr>
            <p:cNvGrpSpPr/>
            <p:nvPr userDrawn="1"/>
          </p:nvGrpSpPr>
          <p:grpSpPr>
            <a:xfrm>
              <a:off x="9541497" y="8476917"/>
              <a:ext cx="2735151" cy="1411315"/>
              <a:chOff x="9296567" y="4910411"/>
              <a:chExt cx="2735151" cy="1411315"/>
            </a:xfrm>
          </p:grpSpPr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0200651A-A5C2-6745-93C3-D1EC973B8F32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ACA5E4FE-97BE-0A4E-9196-292CE279FF5B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69" name="Graphic 168">
                <a:extLst>
                  <a:ext uri="{FF2B5EF4-FFF2-40B4-BE49-F238E27FC236}">
                    <a16:creationId xmlns:a16="http://schemas.microsoft.com/office/drawing/2014/main" id="{C47FEBB8-EA11-4B44-B21D-5846F0D5BEE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39933606-2D86-DC4B-8924-AFCFBFEFAC5E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999BA398-8DC3-504A-BF43-C299337A8C50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9BCEF715-ED9F-CF4A-B26F-0228E531C7ED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A920F2A2-D16F-7B49-8249-3CB38630702B}"/>
                </a:ext>
              </a:extLst>
            </p:cNvPr>
            <p:cNvGrpSpPr/>
            <p:nvPr userDrawn="1"/>
          </p:nvGrpSpPr>
          <p:grpSpPr>
            <a:xfrm>
              <a:off x="9541497" y="7120261"/>
              <a:ext cx="2735151" cy="1280928"/>
              <a:chOff x="9286315" y="6976989"/>
              <a:chExt cx="2735151" cy="1280928"/>
            </a:xfrm>
          </p:grpSpPr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B6D0A85B-3890-1F45-9BFC-811B5745177B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EEA5EE72-4CD7-1A46-9DF6-568DC138E4B1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64" name="Graphic 163">
                <a:extLst>
                  <a:ext uri="{FF2B5EF4-FFF2-40B4-BE49-F238E27FC236}">
                    <a16:creationId xmlns:a16="http://schemas.microsoft.com/office/drawing/2014/main" id="{3CFCDF9C-C88C-3341-AB2C-415DF5C33EA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2481AABB-FA68-0E42-83A5-60002F0CF46C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2FC9AE94-F10E-2F49-B483-7ED17382483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B5831C8C-0608-3A40-A402-088C1320D2DA}"/>
                </a:ext>
              </a:extLst>
            </p:cNvPr>
            <p:cNvGrpSpPr/>
            <p:nvPr userDrawn="1"/>
          </p:nvGrpSpPr>
          <p:grpSpPr>
            <a:xfrm>
              <a:off x="9521833" y="4199527"/>
              <a:ext cx="2617883" cy="651460"/>
              <a:chOff x="12352022" y="513115"/>
              <a:chExt cx="2617883" cy="651460"/>
            </a:xfrm>
          </p:grpSpPr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10910114-E8E6-A34A-93A2-5ED44636D61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67552FF1-C078-4C4F-AAB9-817604F41E2B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CCD37AEA-AC1D-A84E-9AF6-8A7E3C011D99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</p:grp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34A26DA3-DB64-CC4A-925C-B75604BC4686}"/>
                </a:ext>
              </a:extLst>
            </p:cNvPr>
            <p:cNvSpPr txBox="1"/>
            <p:nvPr userDrawn="1"/>
          </p:nvSpPr>
          <p:spPr>
            <a:xfrm>
              <a:off x="9674267" y="5218639"/>
              <a:ext cx="2374733" cy="2908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27BCDA8C-98AB-6E41-86C8-68DD5ADC0556}"/>
                </a:ext>
              </a:extLst>
            </p:cNvPr>
            <p:cNvSpPr txBox="1"/>
            <p:nvPr userDrawn="1"/>
          </p:nvSpPr>
          <p:spPr>
            <a:xfrm>
              <a:off x="9686426" y="5633896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3674C8B4-19A9-7F4C-A0E9-A0CCA63C5A27}"/>
                </a:ext>
              </a:extLst>
            </p:cNvPr>
            <p:cNvSpPr txBox="1"/>
            <p:nvPr userDrawn="1"/>
          </p:nvSpPr>
          <p:spPr>
            <a:xfrm>
              <a:off x="9686426" y="6353986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6CDB408F-F9BC-BE49-BB1D-ED4826DEF237}"/>
                </a:ext>
              </a:extLst>
            </p:cNvPr>
            <p:cNvSpPr txBox="1"/>
            <p:nvPr userDrawn="1"/>
          </p:nvSpPr>
          <p:spPr>
            <a:xfrm>
              <a:off x="9674267" y="6784549"/>
              <a:ext cx="2374733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1ECE0F32-D532-904C-8F1D-31C62A85DF64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51DEE00D-8872-664F-91AC-88EBE656C0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F7B782B6-E142-5C41-A58A-1C6E735E5795}"/>
                </a:ext>
              </a:extLst>
            </p:cNvPr>
            <p:cNvGrpSpPr/>
            <p:nvPr userDrawn="1"/>
          </p:nvGrpSpPr>
          <p:grpSpPr>
            <a:xfrm>
              <a:off x="9541497" y="1993090"/>
              <a:ext cx="2735151" cy="1739504"/>
              <a:chOff x="9541497" y="2125825"/>
              <a:chExt cx="2735151" cy="1739504"/>
            </a:xfrm>
          </p:grpSpPr>
          <p:sp>
            <p:nvSpPr>
              <p:cNvPr id="151" name="Rectangle 150">
                <a:extLst>
                  <a:ext uri="{FF2B5EF4-FFF2-40B4-BE49-F238E27FC236}">
                    <a16:creationId xmlns:a16="http://schemas.microsoft.com/office/drawing/2014/main" id="{FAADFAA3-8DA1-E14D-B99C-AB2508555523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A937AB33-CB8B-A241-9EA4-8CAC5B904E8F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153" name="Graphic 152">
                <a:extLst>
                  <a:ext uri="{FF2B5EF4-FFF2-40B4-BE49-F238E27FC236}">
                    <a16:creationId xmlns:a16="http://schemas.microsoft.com/office/drawing/2014/main" id="{EBF5A0BA-1949-E142-BD57-E8238FDFF60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E3FC725E-D267-EE4C-ACC7-0FF6F88C1DED}"/>
                  </a:ext>
                </a:extLst>
              </p:cNvPr>
              <p:cNvSpPr txBox="1"/>
              <p:nvPr userDrawn="1"/>
            </p:nvSpPr>
            <p:spPr>
              <a:xfrm>
                <a:off x="9701720" y="2880063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DAC191F7-746A-F649-8BB7-706F351D95B5}"/>
                  </a:ext>
                </a:extLst>
              </p:cNvPr>
              <p:cNvSpPr txBox="1"/>
              <p:nvPr userDrawn="1"/>
            </p:nvSpPr>
            <p:spPr>
              <a:xfrm>
                <a:off x="9694938" y="2522575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928BBA09-01DB-5E45-9E3F-116384E13EF0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969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D2E2DD0D-5C91-6840-8E42-F620FF7B593C}"/>
                  </a:ext>
                </a:extLst>
              </p:cNvPr>
              <p:cNvSpPr txBox="1"/>
              <p:nvPr userDrawn="1"/>
            </p:nvSpPr>
            <p:spPr>
              <a:xfrm>
                <a:off x="9701720" y="3337263"/>
                <a:ext cx="2384904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</a:t>
                </a:r>
                <a:b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158" name="Picture 157">
                <a:extLst>
                  <a:ext uri="{FF2B5EF4-FFF2-40B4-BE49-F238E27FC236}">
                    <a16:creationId xmlns:a16="http://schemas.microsoft.com/office/drawing/2014/main" id="{D403EB95-EC44-9141-919C-B5D3EF377E2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946423277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lain,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7FB454B8-622E-D643-B38F-8FBBFCD62ABD}"/>
              </a:ext>
            </a:extLst>
          </p:cNvPr>
          <p:cNvSpPr/>
          <p:nvPr userDrawn="1"/>
        </p:nvSpPr>
        <p:spPr>
          <a:xfrm flipH="1">
            <a:off x="1867" y="2171627"/>
            <a:ext cx="8780681" cy="1815552"/>
          </a:xfrm>
          <a:custGeom>
            <a:avLst/>
            <a:gdLst>
              <a:gd name="connsiteX0" fmla="*/ 8780681 w 8780681"/>
              <a:gd name="connsiteY0" fmla="*/ 0 h 1815552"/>
              <a:gd name="connsiteX1" fmla="*/ 861570 w 8780681"/>
              <a:gd name="connsiteY1" fmla="*/ 0 h 1815552"/>
              <a:gd name="connsiteX2" fmla="*/ 0 w 8780681"/>
              <a:gd name="connsiteY2" fmla="*/ 1815552 h 1815552"/>
              <a:gd name="connsiteX3" fmla="*/ 8780681 w 8780681"/>
              <a:gd name="connsiteY3" fmla="*/ 1815552 h 18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0681" h="1815552">
                <a:moveTo>
                  <a:pt x="8780681" y="0"/>
                </a:moveTo>
                <a:lnTo>
                  <a:pt x="861570" y="0"/>
                </a:lnTo>
                <a:lnTo>
                  <a:pt x="0" y="1815552"/>
                </a:lnTo>
                <a:lnTo>
                  <a:pt x="8780681" y="181555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A7DAA80D-E5FC-834A-808A-ED4B4782F280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28846E-90EC-CF46-BA3C-6E7E7F9A6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357718"/>
            <a:ext cx="7495477" cy="1443370"/>
          </a:xfrm>
        </p:spPr>
        <p:txBody>
          <a:bodyPr anchor="ctr"/>
          <a:lstStyle>
            <a:lvl1pPr>
              <a:defRPr sz="3600"/>
            </a:lvl1pPr>
          </a:lstStyle>
          <a:p>
            <a:pPr lvl="0"/>
            <a:r>
              <a:rPr lang="en-US" dirty="0"/>
              <a:t>CLICK TO EDIT PRESENTATION TITLE. ALL CAPS. TWO LINES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AC42CDE-EBE7-E741-BE32-30653614DF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EB244C48-76C2-534E-9513-08ABA03B5E42}"/>
              </a:ext>
            </a:extLst>
          </p:cNvPr>
          <p:cNvGrpSpPr/>
          <p:nvPr userDrawn="1"/>
        </p:nvGrpSpPr>
        <p:grpSpPr>
          <a:xfrm>
            <a:off x="-256964" y="2662813"/>
            <a:ext cx="251461" cy="803868"/>
            <a:chOff x="-256404" y="360363"/>
            <a:chExt cx="251461" cy="69215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B8F3F92-DCF4-5F4E-9BDB-FEE9A11B7567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1E3E7507-CF0A-8947-A091-45ACB7BD5AD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BDFC8032-2C2C-B742-A741-8E1CF1FA29F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938BCA-C53F-834C-8CEA-DB166BA68723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9E8B117-CE2C-1E41-AA75-B37EA0C0EBB4}"/>
                </a:ext>
              </a:extLst>
            </p:cNvPr>
            <p:cNvSpPr txBox="1"/>
            <p:nvPr userDrawn="1"/>
          </p:nvSpPr>
          <p:spPr>
            <a:xfrm rot="16200000">
              <a:off x="-252501" y="649201"/>
              <a:ext cx="243656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BB85DBD-D337-C94E-8C4C-333AD3194FA9}"/>
              </a:ext>
            </a:extLst>
          </p:cNvPr>
          <p:cNvGrpSpPr/>
          <p:nvPr userDrawn="1"/>
        </p:nvGrpSpPr>
        <p:grpSpPr>
          <a:xfrm>
            <a:off x="-256964" y="6029561"/>
            <a:ext cx="251461" cy="414972"/>
            <a:chOff x="-256404" y="360363"/>
            <a:chExt cx="251461" cy="69215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D4AC7CA-38CF-B043-AD7E-5C0106965AA3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B7A9D658-71C1-CB43-ABD7-6BD77476E27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31A0BB04-B2E3-934F-9D1D-D0346C11180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8167E939-B260-2847-99C6-20C8238CF3D0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FE99EE3-3761-0D43-973C-FE9BFC88169D}"/>
                </a:ext>
              </a:extLst>
            </p:cNvPr>
            <p:cNvSpPr txBox="1"/>
            <p:nvPr userDrawn="1"/>
          </p:nvSpPr>
          <p:spPr>
            <a:xfrm rot="16200000">
              <a:off x="-328529" y="649200"/>
              <a:ext cx="395711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2AFBF52-EA14-5E4D-9D64-343EF5302B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1" y="6061208"/>
            <a:ext cx="3313429" cy="364145"/>
          </a:xfrm>
        </p:spPr>
        <p:txBody>
          <a:bodyPr anchor="ctr"/>
          <a:lstStyle>
            <a:lvl1pPr marL="9525" indent="0">
              <a:buFontTx/>
              <a:buNone/>
              <a:tabLst/>
              <a:defRPr sz="1400" b="0">
                <a:solidFill>
                  <a:schemeClr val="bg1"/>
                </a:solidFill>
              </a:defRPr>
            </a:lvl1pPr>
            <a:lvl2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  <a:lvl6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6pPr>
            <a:lvl7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7pPr>
            <a:lvl8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8pPr>
            <a:lvl9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 (Month DD, YYYY)</a:t>
            </a:r>
          </a:p>
        </p:txBody>
      </p:sp>
    </p:spTree>
    <p:extLst>
      <p:ext uri="{BB962C8B-B14F-4D97-AF65-F5344CB8AC3E}">
        <p14:creationId xmlns:p14="http://schemas.microsoft.com/office/powerpoint/2010/main" val="42069972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Headshot.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A733D6C8-2947-664C-94C0-9AD79C24D8BC}"/>
              </a:ext>
            </a:extLst>
          </p:cNvPr>
          <p:cNvSpPr/>
          <p:nvPr userDrawn="1"/>
        </p:nvSpPr>
        <p:spPr>
          <a:xfrm flipH="1">
            <a:off x="-1" y="2402808"/>
            <a:ext cx="9144000" cy="3294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B98A494-7A59-1347-AC1A-9CEFC6F3BA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855972" y="2402809"/>
            <a:ext cx="4288028" cy="3294098"/>
          </a:xfrm>
          <a:custGeom>
            <a:avLst/>
            <a:gdLst>
              <a:gd name="connsiteX0" fmla="*/ 0 w 4288028"/>
              <a:gd name="connsiteY0" fmla="*/ 0 h 3294098"/>
              <a:gd name="connsiteX1" fmla="*/ 4288028 w 4288028"/>
              <a:gd name="connsiteY1" fmla="*/ 0 h 3294098"/>
              <a:gd name="connsiteX2" fmla="*/ 4288028 w 4288028"/>
              <a:gd name="connsiteY2" fmla="*/ 3294098 h 3294098"/>
              <a:gd name="connsiteX3" fmla="*/ 1563214 w 4288028"/>
              <a:gd name="connsiteY3" fmla="*/ 3294098 h 3294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8028" h="3294098">
                <a:moveTo>
                  <a:pt x="0" y="0"/>
                </a:moveTo>
                <a:lnTo>
                  <a:pt x="4288028" y="0"/>
                </a:lnTo>
                <a:lnTo>
                  <a:pt x="4288028" y="3294098"/>
                </a:lnTo>
                <a:lnTo>
                  <a:pt x="1563214" y="329409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rIns="432000" anchor="ctr">
            <a:noAutofit/>
          </a:bodyPr>
          <a:lstStyle>
            <a:lvl1pPr marL="0" indent="0" algn="r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hoto or headsho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1219067"/>
            <a:ext cx="8280400" cy="91440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2714222"/>
            <a:ext cx="4140200" cy="26712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bg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bg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bg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bg1"/>
                </a:solidFill>
              </a:defRPr>
            </a:lvl5pPr>
            <a:lvl6pPr marL="20638" indent="0">
              <a:buNone/>
              <a:tabLst/>
              <a:defRPr>
                <a:solidFill>
                  <a:schemeClr val="bg1"/>
                </a:solidFill>
              </a:defRPr>
            </a:lvl6pPr>
            <a:lvl7pPr marL="20638" indent="0">
              <a:buNone/>
              <a:tabLst/>
              <a:defRPr>
                <a:solidFill>
                  <a:schemeClr val="bg1"/>
                </a:solidFill>
              </a:defRPr>
            </a:lvl7pPr>
            <a:lvl8pPr marL="20638" indent="0">
              <a:buNone/>
              <a:tabLst/>
              <a:defRPr>
                <a:solidFill>
                  <a:schemeClr val="bg1"/>
                </a:solidFill>
              </a:defRPr>
            </a:lvl8pPr>
            <a:lvl9pPr marL="20638" indent="0">
              <a:buNone/>
              <a:tabLst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724098" y="5966248"/>
            <a:ext cx="2151407" cy="555201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4A77A8F-5D12-E34B-8708-A5312423922C}"/>
              </a:ext>
            </a:extLst>
          </p:cNvPr>
          <p:cNvGrpSpPr/>
          <p:nvPr userDrawn="1"/>
        </p:nvGrpSpPr>
        <p:grpSpPr>
          <a:xfrm>
            <a:off x="-256964" y="1261817"/>
            <a:ext cx="251461" cy="787628"/>
            <a:chOff x="-256404" y="360363"/>
            <a:chExt cx="251461" cy="692152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637000E-F84A-1145-919E-5DA2FD101A77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7B380594-C62D-324D-AD00-233F0356024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A4DA0649-4B5A-6149-AF3E-E7306EFC79C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FA9CBF1E-E8FA-9D49-99B7-933FA7F583CC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8F40B88-00B1-E24C-B5AC-F85B614215DD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56FBD86-8772-2741-BD56-20A14AB5B4D0}"/>
              </a:ext>
            </a:extLst>
          </p:cNvPr>
          <p:cNvGrpSpPr/>
          <p:nvPr userDrawn="1"/>
        </p:nvGrpSpPr>
        <p:grpSpPr>
          <a:xfrm>
            <a:off x="-256964" y="3367324"/>
            <a:ext cx="251461" cy="1365066"/>
            <a:chOff x="-256404" y="360363"/>
            <a:chExt cx="251461" cy="692152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6AB86AF-2A25-B547-9EDA-F8EED4FDCFCB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724101C4-1166-584E-ACD2-2214586A319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B89C2C98-B3D1-5043-B59E-DFA49C30AF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2DA7E2B3-4DB5-8E48-AFA9-F7FCCD3A95BD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4FF7AC7-18F3-1F4F-ADDF-503169DE7192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77D3FCE0-E691-3E44-A57D-ECDAE556E4FE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9E931012-2003-2543-97CB-79A6045D941E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B93CA922-F7B0-0748-B406-436E8B6A0F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B8147241-E2F6-C348-9AC4-7BD8938A2C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79CC637B-89E3-684C-8110-25BFEE1E0211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00F2606F-6D13-5440-96CF-871056AD211A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20" name="Straight Connector 119">
                  <a:extLst>
                    <a:ext uri="{FF2B5EF4-FFF2-40B4-BE49-F238E27FC236}">
                      <a16:creationId xmlns:a16="http://schemas.microsoft.com/office/drawing/2014/main" id="{FCFB4B41-BF85-7B40-8CCC-196A3742C4C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Straight Connector 120">
                  <a:extLst>
                    <a:ext uri="{FF2B5EF4-FFF2-40B4-BE49-F238E27FC236}">
                      <a16:creationId xmlns:a16="http://schemas.microsoft.com/office/drawing/2014/main" id="{205341C8-9176-C04A-979F-A1265E327B5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1739FE7B-2552-6F40-95CD-992E32CD500D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BCAD5F91-0EBA-A346-B9D7-BDF226AC2562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18" name="Straight Arrow Connector 117">
                <a:extLst>
                  <a:ext uri="{FF2B5EF4-FFF2-40B4-BE49-F238E27FC236}">
                    <a16:creationId xmlns:a16="http://schemas.microsoft.com/office/drawing/2014/main" id="{B7483C9D-769B-A74A-871C-84AC19953014}"/>
                  </a:ext>
                </a:extLst>
              </p:cNvPr>
              <p:cNvCxnSpPr>
                <a:cxnSpLocks/>
                <a:stCxn id="117" idx="1"/>
                <a:endCxn id="122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Arrow Connector 118">
                <a:extLst>
                  <a:ext uri="{FF2B5EF4-FFF2-40B4-BE49-F238E27FC236}">
                    <a16:creationId xmlns:a16="http://schemas.microsoft.com/office/drawing/2014/main" id="{FFF12A77-86E0-B349-A46C-7E1FBDCC474C}"/>
                  </a:ext>
                </a:extLst>
              </p:cNvPr>
              <p:cNvCxnSpPr>
                <a:cxnSpLocks/>
                <a:stCxn id="117" idx="3"/>
                <a:endCxn id="122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AD5C5ED9-7B43-BE47-809A-7B8837E8043A}"/>
              </a:ext>
            </a:extLst>
          </p:cNvPr>
          <p:cNvGrpSpPr/>
          <p:nvPr userDrawn="1"/>
        </p:nvGrpSpPr>
        <p:grpSpPr>
          <a:xfrm>
            <a:off x="9399182" y="-1"/>
            <a:ext cx="2961715" cy="9888233"/>
            <a:chOff x="9399182" y="-1"/>
            <a:chExt cx="2961715" cy="9888233"/>
          </a:xfrm>
        </p:grpSpPr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F9BAF0BA-0BDC-1247-813B-03F7EA59E73E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974868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061D06E5-386C-9A44-86AB-C48DF50242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44021" b="6017"/>
            <a:stretch/>
          </p:blipFill>
          <p:spPr>
            <a:xfrm>
              <a:off x="9558506" y="1323797"/>
              <a:ext cx="2632538" cy="532435"/>
            </a:xfrm>
            <a:prstGeom prst="rect">
              <a:avLst/>
            </a:prstGeom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CB2E8C9A-4FB4-6445-9C60-4EE2DB6B1768}"/>
                </a:ext>
              </a:extLst>
            </p:cNvPr>
            <p:cNvSpPr txBox="1"/>
            <p:nvPr userDrawn="1"/>
          </p:nvSpPr>
          <p:spPr>
            <a:xfrm>
              <a:off x="9558507" y="3874407"/>
              <a:ext cx="1644681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ADD AN IMAGE</a:t>
              </a:r>
            </a:p>
          </p:txBody>
        </p: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A81CC4-D4ED-6647-B722-D848B3A652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77024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4F84C578-2664-E643-9472-A17F6E6BE6BD}"/>
                </a:ext>
              </a:extLst>
            </p:cNvPr>
            <p:cNvSpPr txBox="1"/>
            <p:nvPr userDrawn="1"/>
          </p:nvSpPr>
          <p:spPr>
            <a:xfrm>
              <a:off x="9686426" y="4935334"/>
              <a:ext cx="2297338" cy="27622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b="1" dirty="0"/>
                <a:t>Method 1:</a:t>
              </a:r>
              <a:r>
                <a:rPr lang="en-US" sz="600" b="0" dirty="0"/>
                <a:t>from file browser</a:t>
              </a:r>
            </a:p>
            <a:p>
              <a:pPr lvl="1">
                <a:buNone/>
              </a:pPr>
              <a:r>
                <a:rPr lang="en-US" sz="1050" dirty="0"/>
                <a:t>Drag the image onto the slide.</a:t>
              </a: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E92595B0-CF39-6843-81E1-EAABD547E6A4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66122352-90ED-2A48-8FF8-33C7B03519D9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46F342E6-6D49-BA41-A71D-B2EAF5BB7021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166" name="Picture 165">
                <a:extLst>
                  <a:ext uri="{FF2B5EF4-FFF2-40B4-BE49-F238E27FC236}">
                    <a16:creationId xmlns:a16="http://schemas.microsoft.com/office/drawing/2014/main" id="{4B56E006-7B74-2E43-8AF7-0B546803EFE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8ED31E1B-C47C-6444-B18D-10F07AD75967}"/>
                </a:ext>
              </a:extLst>
            </p:cNvPr>
            <p:cNvGrpSpPr/>
            <p:nvPr userDrawn="1"/>
          </p:nvGrpSpPr>
          <p:grpSpPr>
            <a:xfrm>
              <a:off x="9541497" y="8476917"/>
              <a:ext cx="2735151" cy="1411315"/>
              <a:chOff x="9296567" y="4910411"/>
              <a:chExt cx="2735151" cy="1411315"/>
            </a:xfrm>
          </p:grpSpPr>
          <p:sp>
            <p:nvSpPr>
              <p:cNvPr id="158" name="Rectangle 157">
                <a:extLst>
                  <a:ext uri="{FF2B5EF4-FFF2-40B4-BE49-F238E27FC236}">
                    <a16:creationId xmlns:a16="http://schemas.microsoft.com/office/drawing/2014/main" id="{1BC1C51A-ECC0-D846-83E1-18277AEBD125}"/>
                  </a:ext>
                </a:extLst>
              </p:cNvPr>
              <p:cNvSpPr/>
              <p:nvPr userDrawn="1"/>
            </p:nvSpPr>
            <p:spPr>
              <a:xfrm>
                <a:off x="9296567" y="4910411"/>
                <a:ext cx="2735151" cy="1411315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TextBox 158">
                <a:extLst>
                  <a:ext uri="{FF2B5EF4-FFF2-40B4-BE49-F238E27FC236}">
                    <a16:creationId xmlns:a16="http://schemas.microsoft.com/office/drawing/2014/main" id="{62F58A85-515C-0644-8065-784967D02301}"/>
                  </a:ext>
                </a:extLst>
              </p:cNvPr>
              <p:cNvSpPr txBox="1"/>
              <p:nvPr userDrawn="1"/>
            </p:nvSpPr>
            <p:spPr>
              <a:xfrm>
                <a:off x="9662758" y="5039211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hange Image</a:t>
                </a:r>
              </a:p>
            </p:txBody>
          </p:sp>
          <p:pic>
            <p:nvPicPr>
              <p:cNvPr id="160" name="Graphic 159">
                <a:extLst>
                  <a:ext uri="{FF2B5EF4-FFF2-40B4-BE49-F238E27FC236}">
                    <a16:creationId xmlns:a16="http://schemas.microsoft.com/office/drawing/2014/main" id="{34BF85D0-43E2-6C47-8BDC-135B93441BB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56790" y="5049494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A620BBCD-FCF8-A449-B62F-8347A0D2E56F}"/>
                  </a:ext>
                </a:extLst>
              </p:cNvPr>
              <p:cNvSpPr txBox="1"/>
              <p:nvPr userDrawn="1"/>
            </p:nvSpPr>
            <p:spPr>
              <a:xfrm>
                <a:off x="9471805" y="5619194"/>
                <a:ext cx="2422981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34938" lvl="1" indent="-131763" algn="l" defTabSz="914400" rtl="0" eaLnBrk="1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itchFamily="2" charset="2"/>
                  <a:buChar char="§"/>
                  <a:tabLst/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Deleting the image may bring the image placeholder to the top layer. Right-click on the placeholder and choose “Send to Back”.</a:t>
                </a:r>
              </a:p>
            </p:txBody>
          </p:sp>
          <p:sp>
            <p:nvSpPr>
              <p:cNvPr id="162" name="TextBox 161">
                <a:extLst>
                  <a:ext uri="{FF2B5EF4-FFF2-40B4-BE49-F238E27FC236}">
                    <a16:creationId xmlns:a16="http://schemas.microsoft.com/office/drawing/2014/main" id="{A353EA54-45AB-D440-90A5-F7FFA68E8277}"/>
                  </a:ext>
                </a:extLst>
              </p:cNvPr>
              <p:cNvSpPr txBox="1"/>
              <p:nvPr userDrawn="1"/>
            </p:nvSpPr>
            <p:spPr>
              <a:xfrm>
                <a:off x="9471805" y="5300350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First, delete the existing image to reset the photo placeholder functionality.</a:t>
                </a:r>
              </a:p>
            </p:txBody>
          </p:sp>
          <p:sp>
            <p:nvSpPr>
              <p:cNvPr id="163" name="TextBox 162">
                <a:extLst>
                  <a:ext uri="{FF2B5EF4-FFF2-40B4-BE49-F238E27FC236}">
                    <a16:creationId xmlns:a16="http://schemas.microsoft.com/office/drawing/2014/main" id="{BEDFBBB6-E5F9-B04E-9573-E0BEE0A827D6}"/>
                  </a:ext>
                </a:extLst>
              </p:cNvPr>
              <p:cNvSpPr txBox="1"/>
              <p:nvPr userDrawn="1"/>
            </p:nvSpPr>
            <p:spPr>
              <a:xfrm>
                <a:off x="9471805" y="6068871"/>
                <a:ext cx="2422981" cy="1384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You can now add a new image as normal.</a:t>
                </a:r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55FA8466-28DE-314F-9E10-841CA5A67806}"/>
                </a:ext>
              </a:extLst>
            </p:cNvPr>
            <p:cNvGrpSpPr/>
            <p:nvPr userDrawn="1"/>
          </p:nvGrpSpPr>
          <p:grpSpPr>
            <a:xfrm>
              <a:off x="9541497" y="7120261"/>
              <a:ext cx="2735151" cy="1280928"/>
              <a:chOff x="9286315" y="6976989"/>
              <a:chExt cx="2735151" cy="1280928"/>
            </a:xfrm>
          </p:grpSpPr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05828DAF-41DC-FF4F-AC26-F4C6A8B63055}"/>
                  </a:ext>
                </a:extLst>
              </p:cNvPr>
              <p:cNvSpPr/>
              <p:nvPr userDrawn="1"/>
            </p:nvSpPr>
            <p:spPr>
              <a:xfrm>
                <a:off x="9286315" y="6976989"/>
                <a:ext cx="2735151" cy="1280928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D8ADA2D6-D5A5-784E-A45D-83532F4E6081}"/>
                  </a:ext>
                </a:extLst>
              </p:cNvPr>
              <p:cNvSpPr txBox="1"/>
              <p:nvPr userDrawn="1"/>
            </p:nvSpPr>
            <p:spPr>
              <a:xfrm>
                <a:off x="9652506" y="7105788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Crop Image</a:t>
                </a:r>
              </a:p>
            </p:txBody>
          </p:sp>
          <p:pic>
            <p:nvPicPr>
              <p:cNvPr id="155" name="Graphic 154">
                <a:extLst>
                  <a:ext uri="{FF2B5EF4-FFF2-40B4-BE49-F238E27FC236}">
                    <a16:creationId xmlns:a16="http://schemas.microsoft.com/office/drawing/2014/main" id="{CEAC3E4D-5FCA-0645-9B99-2164C11F93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446538" y="7116071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56" name="TextBox 155">
                <a:extLst>
                  <a:ext uri="{FF2B5EF4-FFF2-40B4-BE49-F238E27FC236}">
                    <a16:creationId xmlns:a16="http://schemas.microsoft.com/office/drawing/2014/main" id="{9B42898C-5F47-3F43-B337-69341CF4C7D0}"/>
                  </a:ext>
                </a:extLst>
              </p:cNvPr>
              <p:cNvSpPr txBox="1"/>
              <p:nvPr userDrawn="1"/>
            </p:nvSpPr>
            <p:spPr>
              <a:xfrm>
                <a:off x="9446538" y="7369972"/>
                <a:ext cx="2384904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-click on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Choose “Crop” from the menu. (       )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djust the size and position of the image.</a:t>
                </a:r>
              </a:p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Press Esc or click outside the image area to exit the cropping mode.</a:t>
                </a:r>
              </a:p>
            </p:txBody>
          </p:sp>
          <p:pic>
            <p:nvPicPr>
              <p:cNvPr id="157" name="Picture 156">
                <a:extLst>
                  <a:ext uri="{FF2B5EF4-FFF2-40B4-BE49-F238E27FC236}">
                    <a16:creationId xmlns:a16="http://schemas.microsoft.com/office/drawing/2014/main" id="{2B17B7A2-579E-264F-AFA9-A6C0D3044EE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/>
              <a:srcRect l="33684" t="12097" r="43371" b="20368"/>
              <a:stretch/>
            </p:blipFill>
            <p:spPr>
              <a:xfrm>
                <a:off x="11243541" y="7454405"/>
                <a:ext cx="136897" cy="213643"/>
              </a:xfrm>
              <a:prstGeom prst="rect">
                <a:avLst/>
              </a:prstGeom>
              <a:ln w="1905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4FCB2141-4630-E34F-91E8-A4B1D805FE7D}"/>
                </a:ext>
              </a:extLst>
            </p:cNvPr>
            <p:cNvGrpSpPr/>
            <p:nvPr userDrawn="1"/>
          </p:nvGrpSpPr>
          <p:grpSpPr>
            <a:xfrm>
              <a:off x="9521833" y="4199527"/>
              <a:ext cx="2617883" cy="651460"/>
              <a:chOff x="12352022" y="513115"/>
              <a:chExt cx="2617883" cy="651460"/>
            </a:xfrm>
          </p:grpSpPr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6F9AC646-EF27-2141-AEB7-4D0CDD043E30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538142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C8872405-7363-E04E-BCBC-4D7C41A0C027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352022" y="10336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163E301A-90B1-5142-8C9D-CBA4D2B0DDB1}"/>
                  </a:ext>
                </a:extLst>
              </p:cNvPr>
              <p:cNvSpPr txBox="1"/>
              <p:nvPr userDrawn="1"/>
            </p:nvSpPr>
            <p:spPr>
              <a:xfrm>
                <a:off x="12516615" y="513115"/>
                <a:ext cx="2453290" cy="65146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Select and download images from the Marketing Resource Database.</a:t>
                </a:r>
              </a:p>
              <a:p>
                <a:pPr lvl="0"/>
                <a:r>
                  <a:rPr lang="en-US" dirty="0"/>
                  <a:t>Add the image to the placeholder.</a:t>
                </a:r>
              </a:p>
            </p:txBody>
          </p:sp>
        </p:grp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765364B7-0A41-A344-82EA-5CBC4E0534D1}"/>
                </a:ext>
              </a:extLst>
            </p:cNvPr>
            <p:cNvSpPr txBox="1"/>
            <p:nvPr userDrawn="1"/>
          </p:nvSpPr>
          <p:spPr>
            <a:xfrm>
              <a:off x="9674267" y="5218639"/>
              <a:ext cx="2374733" cy="2908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If there are multiple image placeholders on the slide, select the intended placeholder before dragging in the image to let PowerPoint know where you want it.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57E30B1B-AA82-1544-9697-1536E16F1177}"/>
                </a:ext>
              </a:extLst>
            </p:cNvPr>
            <p:cNvSpPr txBox="1"/>
            <p:nvPr userDrawn="1"/>
          </p:nvSpPr>
          <p:spPr>
            <a:xfrm>
              <a:off x="9686426" y="5633896"/>
              <a:ext cx="2297338" cy="6055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2:</a:t>
              </a:r>
              <a:r>
                <a:rPr lang="en-US" sz="600" b="0" dirty="0"/>
                <a:t>Paste from clipboard</a:t>
              </a:r>
            </a:p>
            <a:p>
              <a:pPr lvl="1">
                <a:buNone/>
              </a:pPr>
              <a:r>
                <a:rPr lang="en-US" sz="1050" dirty="0"/>
                <a:t>Select the image placeholder.</a:t>
              </a:r>
            </a:p>
            <a:p>
              <a:pPr lvl="1">
                <a:buNone/>
              </a:pPr>
              <a:r>
                <a:rPr lang="en-US" sz="1050" dirty="0"/>
                <a:t>Right-click or use keyboard shortcuts to paste the image.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0B5B22EC-8F9C-CA4F-A61A-09D9EC55B715}"/>
                </a:ext>
              </a:extLst>
            </p:cNvPr>
            <p:cNvSpPr txBox="1"/>
            <p:nvPr userDrawn="1"/>
          </p:nvSpPr>
          <p:spPr>
            <a:xfrm>
              <a:off x="9686426" y="6353986"/>
              <a:ext cx="2297338" cy="42165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900"/>
                </a:spcBef>
                <a:spcAft>
                  <a:spcPts val="300"/>
                </a:spcAft>
                <a:defRPr sz="800" b="1" cap="all" spc="2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0" lvl="1" indent="0">
                <a:lnSpc>
                  <a:spcPct val="90000"/>
                </a:lnSpc>
                <a:spcAft>
                  <a:spcPts val="300"/>
                </a:spcAft>
                <a:tabLst/>
                <a:defRPr sz="12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marL="0" lvl="0" indent="0">
                <a:buFont typeface="Arial" panose="020B0604020202020204" pitchFamily="34" charset="0"/>
                <a:buNone/>
              </a:pPr>
              <a:r>
                <a:rPr lang="en-US" sz="600" dirty="0"/>
                <a:t>Method 3:</a:t>
              </a:r>
              <a:r>
                <a:rPr lang="en-US" sz="600" b="0" dirty="0"/>
                <a:t>Placeholder icon</a:t>
              </a:r>
            </a:p>
            <a:p>
              <a:pPr lvl="1">
                <a:buNone/>
              </a:pPr>
              <a:r>
                <a:rPr lang="en-US" sz="1050" dirty="0"/>
                <a:t>Click the image icon inside the placeholder to browse for an image.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0321AB7A-262C-E243-9A39-092F6CABA552}"/>
                </a:ext>
              </a:extLst>
            </p:cNvPr>
            <p:cNvSpPr txBox="1"/>
            <p:nvPr userDrawn="1"/>
          </p:nvSpPr>
          <p:spPr>
            <a:xfrm>
              <a:off x="9674267" y="6784549"/>
              <a:ext cx="2374733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This icon may be covered by another element.</a:t>
              </a:r>
              <a:br>
                <a:rPr lang="en-US" sz="700" dirty="0"/>
              </a:br>
              <a:r>
                <a:rPr lang="en-US" sz="700" dirty="0"/>
                <a:t>In this case use one of the other methods.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50EAAF30-5A19-764F-8A81-E50A2CDBB443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3DF2975D-FBB6-8D43-9A3E-31BFB4BC4C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14AED418-A7FD-0943-98FB-BDDDA0D8E908}"/>
                </a:ext>
              </a:extLst>
            </p:cNvPr>
            <p:cNvGrpSpPr/>
            <p:nvPr userDrawn="1"/>
          </p:nvGrpSpPr>
          <p:grpSpPr>
            <a:xfrm>
              <a:off x="9541497" y="1993090"/>
              <a:ext cx="2735151" cy="1739504"/>
              <a:chOff x="9541497" y="2125825"/>
              <a:chExt cx="2735151" cy="1739504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96DB50A7-2B13-B747-9724-B02F5CC5FAE6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97885988-9EEC-D24A-B627-43F68E16F4BC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144" name="Graphic 143">
                <a:extLst>
                  <a:ext uri="{FF2B5EF4-FFF2-40B4-BE49-F238E27FC236}">
                    <a16:creationId xmlns:a16="http://schemas.microsoft.com/office/drawing/2014/main" id="{83851E78-BB9F-6449-8DF6-A0FC2CAA2BE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145" name="TextBox 144">
                <a:extLst>
                  <a:ext uri="{FF2B5EF4-FFF2-40B4-BE49-F238E27FC236}">
                    <a16:creationId xmlns:a16="http://schemas.microsoft.com/office/drawing/2014/main" id="{EC05698B-83B1-FA41-890C-86B8BDC77CEF}"/>
                  </a:ext>
                </a:extLst>
              </p:cNvPr>
              <p:cNvSpPr txBox="1"/>
              <p:nvPr userDrawn="1"/>
            </p:nvSpPr>
            <p:spPr>
              <a:xfrm>
                <a:off x="9701720" y="2880063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146" name="TextBox 145">
                <a:extLst>
                  <a:ext uri="{FF2B5EF4-FFF2-40B4-BE49-F238E27FC236}">
                    <a16:creationId xmlns:a16="http://schemas.microsoft.com/office/drawing/2014/main" id="{7352129B-5821-294B-A6FC-0108438173D0}"/>
                  </a:ext>
                </a:extLst>
              </p:cNvPr>
              <p:cNvSpPr txBox="1"/>
              <p:nvPr userDrawn="1"/>
            </p:nvSpPr>
            <p:spPr>
              <a:xfrm>
                <a:off x="9694938" y="2522575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147" name="TextBox 146">
                <a:extLst>
                  <a:ext uri="{FF2B5EF4-FFF2-40B4-BE49-F238E27FC236}">
                    <a16:creationId xmlns:a16="http://schemas.microsoft.com/office/drawing/2014/main" id="{95C0D103-7B69-674C-BB26-5A97DEC86380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969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01F7D329-536B-8B41-B896-7592DD5B60F6}"/>
                  </a:ext>
                </a:extLst>
              </p:cNvPr>
              <p:cNvSpPr txBox="1"/>
              <p:nvPr userDrawn="1"/>
            </p:nvSpPr>
            <p:spPr>
              <a:xfrm>
                <a:off x="9701720" y="3337263"/>
                <a:ext cx="2384904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</a:t>
                </a:r>
                <a:b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149" name="Picture 148">
                <a:extLst>
                  <a:ext uri="{FF2B5EF4-FFF2-40B4-BE49-F238E27FC236}">
                    <a16:creationId xmlns:a16="http://schemas.microsoft.com/office/drawing/2014/main" id="{DE1D17B7-BC70-8F4C-AF98-5944562B2CD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1626931"/>
      </p:ext>
    </p:extLst>
  </p:cSld>
  <p:clrMapOvr>
    <a:overrideClrMapping bg1="lt1" tx1="dk1" bg2="lt2" tx2="dk2" accent1="accent1" accent2="accent2" accent3="accent3" accent4="accent4" accent5="accent5" accent6="accent6" hlink="lt1" folHlink="lt1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2 Headshots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402731"/>
            <a:ext cx="8280400" cy="922907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6852" y="3604148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29E5FF7-98BC-884F-840D-5E423F4AF849}"/>
              </a:ext>
            </a:extLst>
          </p:cNvPr>
          <p:cNvGrpSpPr/>
          <p:nvPr userDrawn="1"/>
        </p:nvGrpSpPr>
        <p:grpSpPr>
          <a:xfrm>
            <a:off x="-256964" y="2477066"/>
            <a:ext cx="251461" cy="787628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CE00DE3-4AF7-8F42-A200-B6BF002E43A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62AF22C-7AFC-C247-A004-0952318756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5DC57299-371A-5D49-B7E8-080D3F8E7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4E3FC2-9801-F941-A31F-83FA02AAD4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A420265-8660-8D47-879D-AE5074C73B4B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244616-2BA8-434E-A138-B2D5956D9EE1}"/>
              </a:ext>
            </a:extLst>
          </p:cNvPr>
          <p:cNvGrpSpPr/>
          <p:nvPr userDrawn="1"/>
        </p:nvGrpSpPr>
        <p:grpSpPr>
          <a:xfrm>
            <a:off x="-256964" y="3622629"/>
            <a:ext cx="251461" cy="1506813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09CBFCC-B5CB-D24E-8728-2AAEE959FF6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977E976A-5E64-D14B-BA4C-4F26EF696B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00263B3-BEFA-F84D-A346-488994B50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D5E94FD-3E4F-7A4D-8F85-338D20425FB9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C137DA0-E7A0-8348-964C-0094E9A21AD9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953A8BD-C2FA-AE49-99CC-15B59CE56A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800" y="3603625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1B6BB86B-8CCA-614F-97F8-932E6DC1B8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0739" y="3604148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E582B670-FA91-C849-BD22-A066A6FE9B5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95687" y="3603625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8C5271A-0BDF-8A4B-A174-563C1037B2D5}"/>
              </a:ext>
            </a:extLst>
          </p:cNvPr>
          <p:cNvGrpSpPr/>
          <p:nvPr userDrawn="1"/>
        </p:nvGrpSpPr>
        <p:grpSpPr>
          <a:xfrm>
            <a:off x="9399182" y="-1"/>
            <a:ext cx="2961715" cy="8383282"/>
            <a:chOff x="9399182" y="-1"/>
            <a:chExt cx="2961715" cy="8383282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45B4392-38F5-6C41-A941-E1CDFEF149BA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2296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9505F31A-B1BD-6B43-93A4-B74F320C4E6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258D4B1-E9C2-FB40-A4A9-66BEE0EF3965}"/>
                </a:ext>
              </a:extLst>
            </p:cNvPr>
            <p:cNvSpPr txBox="1"/>
            <p:nvPr userDrawn="1"/>
          </p:nvSpPr>
          <p:spPr>
            <a:xfrm>
              <a:off x="9558507" y="3863269"/>
              <a:ext cx="2159245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IPS FOR ADDING HEADSHOTS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61008D7-F48E-CB4E-99B2-9CD9ECF9FB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6588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EB03B23-ECF8-7E4C-9DD0-D5EB04C22CCD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D36E3FB2-9D3F-F345-8ABF-49772659DC3C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A2E380DD-5DBC-7B40-941B-9B833C5A489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9D5BAED-BA0A-B647-B7F6-5D6021FACCCF}"/>
                </a:ext>
              </a:extLst>
            </p:cNvPr>
            <p:cNvSpPr/>
            <p:nvPr userDrawn="1"/>
          </p:nvSpPr>
          <p:spPr>
            <a:xfrm>
              <a:off x="9541497" y="6971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526BF7F-3849-4849-8E5B-701D9AA18384}"/>
                </a:ext>
              </a:extLst>
            </p:cNvPr>
            <p:cNvSpPr txBox="1"/>
            <p:nvPr userDrawn="1"/>
          </p:nvSpPr>
          <p:spPr>
            <a:xfrm>
              <a:off x="9907688" y="7100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A349D8B4-550A-014D-9076-DDDB3624A3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7111049"/>
              <a:ext cx="155227" cy="155227"/>
            </a:xfrm>
            <a:prstGeom prst="rect">
              <a:avLst/>
            </a:prstGeom>
          </p:spPr>
        </p:pic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E86AFA1-0C01-1D45-B393-A7B36DC10AE4}"/>
                </a:ext>
              </a:extLst>
            </p:cNvPr>
            <p:cNvSpPr txBox="1"/>
            <p:nvPr userDrawn="1"/>
          </p:nvSpPr>
          <p:spPr>
            <a:xfrm>
              <a:off x="9716735" y="7680749"/>
              <a:ext cx="2422981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34938" lvl="1" indent="-13176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B69B0D5D-8E81-F645-BCC8-64447E84902A}"/>
                </a:ext>
              </a:extLst>
            </p:cNvPr>
            <p:cNvSpPr txBox="1"/>
            <p:nvPr userDrawn="1"/>
          </p:nvSpPr>
          <p:spPr>
            <a:xfrm>
              <a:off x="9716735" y="7361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EFADA951-D7D8-B14D-82B0-66F3604EF11D}"/>
                </a:ext>
              </a:extLst>
            </p:cNvPr>
            <p:cNvSpPr txBox="1"/>
            <p:nvPr userDrawn="1"/>
          </p:nvSpPr>
          <p:spPr>
            <a:xfrm>
              <a:off x="9716735" y="8130426"/>
              <a:ext cx="2422981" cy="1384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C6A9EE0-3F9B-9141-804D-7B7B3100D2F8}"/>
                </a:ext>
              </a:extLst>
            </p:cNvPr>
            <p:cNvSpPr/>
            <p:nvPr userDrawn="1"/>
          </p:nvSpPr>
          <p:spPr>
            <a:xfrm>
              <a:off x="9541497" y="5615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6EBC34F-18CE-E54E-9812-7C5701913234}"/>
                </a:ext>
              </a:extLst>
            </p:cNvPr>
            <p:cNvSpPr txBox="1"/>
            <p:nvPr userDrawn="1"/>
          </p:nvSpPr>
          <p:spPr>
            <a:xfrm>
              <a:off x="9907688" y="5744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911FC2BF-E4F0-7447-8543-FE7B8063A2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5754392"/>
              <a:ext cx="155227" cy="155227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A713D6E-1306-BD46-9022-2EEA5CF4E52C}"/>
                </a:ext>
              </a:extLst>
            </p:cNvPr>
            <p:cNvSpPr txBox="1"/>
            <p:nvPr userDrawn="1"/>
          </p:nvSpPr>
          <p:spPr>
            <a:xfrm>
              <a:off x="9701720" y="6008293"/>
              <a:ext cx="2384904" cy="73866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D30E2C41-A0A4-C34F-BD05-3F5C3C56ACC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33684" t="12097" r="43371" b="20368"/>
            <a:stretch/>
          </p:blipFill>
          <p:spPr>
            <a:xfrm>
              <a:off x="11498723" y="6092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6FE6E364-A45B-B842-AD58-20FEF7E057A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21341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B2852C9-AD22-FD42-B207-3FA60EC80EE1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53816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2B3D3979-13E7-BE49-84DE-225A4B2C314C}"/>
                </a:ext>
              </a:extLst>
            </p:cNvPr>
            <p:cNvSpPr txBox="1"/>
            <p:nvPr userDrawn="1"/>
          </p:nvSpPr>
          <p:spPr>
            <a:xfrm>
              <a:off x="9686426" y="4188389"/>
              <a:ext cx="2453290" cy="16158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Add the photos to the placeholders.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96C0231-DDB2-674E-BA33-8934B6975490}"/>
                </a:ext>
              </a:extLst>
            </p:cNvPr>
            <p:cNvSpPr txBox="1"/>
            <p:nvPr userDrawn="1"/>
          </p:nvSpPr>
          <p:spPr>
            <a:xfrm>
              <a:off x="9686425" y="4503349"/>
              <a:ext cx="1468453" cy="93718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rop the headshots so that they match:</a:t>
              </a:r>
            </a:p>
            <a:p>
              <a:pPr lvl="1"/>
              <a:r>
                <a:rPr lang="en-US" dirty="0"/>
                <a:t>Heads are the same size and relative position</a:t>
              </a:r>
            </a:p>
            <a:p>
              <a:pPr marL="134938" marR="0" lvl="1" indent="-131763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lang="en-US" dirty="0"/>
                <a:t>The entire head is visible</a:t>
              </a:r>
            </a:p>
            <a:p>
              <a:pPr lvl="1"/>
              <a:r>
                <a:rPr lang="en-US" dirty="0"/>
                <a:t>Shoulders are visible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4261B0B-0443-2947-86D5-57D446CA022B}"/>
                </a:ext>
              </a:extLst>
            </p:cNvPr>
            <p:cNvSpPr/>
            <p:nvPr userDrawn="1"/>
          </p:nvSpPr>
          <p:spPr>
            <a:xfrm>
              <a:off x="9541497" y="1981952"/>
              <a:ext cx="2735151" cy="1739504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99B54DFE-A2F3-C645-9D97-EECBE782E039}"/>
                </a:ext>
              </a:extLst>
            </p:cNvPr>
            <p:cNvSpPr txBox="1"/>
            <p:nvPr userDrawn="1"/>
          </p:nvSpPr>
          <p:spPr>
            <a:xfrm>
              <a:off x="9907688" y="2110751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Undo Hyperlink</a:t>
              </a:r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78A98A1A-F2C6-8B4A-B922-D0F44DD6FD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2121034"/>
              <a:ext cx="155227" cy="155227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1821284-7515-6645-AD56-2112AB09410E}"/>
                </a:ext>
              </a:extLst>
            </p:cNvPr>
            <p:cNvSpPr txBox="1"/>
            <p:nvPr userDrawn="1"/>
          </p:nvSpPr>
          <p:spPr>
            <a:xfrm>
              <a:off x="9701720" y="2736190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s soon as the hyperlink formatting appears, Undo once to remove the format.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73339CCA-9476-8145-AA5E-4BF66FED48CC}"/>
                </a:ext>
              </a:extLst>
            </p:cNvPr>
            <p:cNvSpPr txBox="1"/>
            <p:nvPr userDrawn="1"/>
          </p:nvSpPr>
          <p:spPr>
            <a:xfrm>
              <a:off x="9694938" y="2378702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yping an email address into the contact info will automatically create a hyperlink.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59F6E3B-D6C3-5046-821A-B0958EABAE66}"/>
                </a:ext>
              </a:extLst>
            </p:cNvPr>
            <p:cNvSpPr txBox="1"/>
            <p:nvPr userDrawn="1"/>
          </p:nvSpPr>
          <p:spPr>
            <a:xfrm>
              <a:off x="9830981" y="3018869"/>
              <a:ext cx="2374733" cy="969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>
                  <a:solidFill>
                    <a:schemeClr val="bg1">
                      <a:lumMod val="65000"/>
                    </a:schemeClr>
                  </a:solidFill>
                </a:rPr>
                <a:t>You can use CTRL+Z or the menu button.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B5D2460-8792-4C47-8772-D09B0975E99A}"/>
                </a:ext>
              </a:extLst>
            </p:cNvPr>
            <p:cNvSpPr txBox="1"/>
            <p:nvPr userDrawn="1"/>
          </p:nvSpPr>
          <p:spPr>
            <a:xfrm>
              <a:off x="9701720" y="3193390"/>
              <a:ext cx="2384904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To remove an pre-existing hyperlink, </a:t>
              </a:r>
              <a:b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</a:b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 click on the hyperlink and choose “Remove Link” (                 )</a:t>
              </a: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2024B849-BE34-3D47-836E-F64027EBFFB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4852" t="17138" r="10283" b="11792"/>
            <a:stretch/>
          </p:blipFill>
          <p:spPr>
            <a:xfrm>
              <a:off x="10676602" y="3460165"/>
              <a:ext cx="478277" cy="101726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2FE0A6A-07E7-D846-9A21-107CEEAD3B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1251841" y="4562988"/>
              <a:ext cx="849028" cy="849028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348059E-F311-3E49-929C-68406361B611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6D32AA4D-A813-B740-8E61-D74D604CEE5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230EF6E-C845-D64E-BC72-F37EFCE9B7D8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7B5DBABC-D043-5F48-AA9E-590EFDB7EE71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A5D4D379-3F76-B448-9498-84AB6A27E0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DEF8E035-72A9-FE47-AC59-8D6A909E08E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3486BB88-F072-2D44-AF2B-06DF2812AAA9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51F1AA18-8D70-B74C-9039-62189A303501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91" name="Straight Connector 90">
                  <a:extLst>
                    <a:ext uri="{FF2B5EF4-FFF2-40B4-BE49-F238E27FC236}">
                      <a16:creationId xmlns:a16="http://schemas.microsoft.com/office/drawing/2014/main" id="{55FEC584-665C-7545-84C6-2D2E1D2C018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91">
                  <a:extLst>
                    <a:ext uri="{FF2B5EF4-FFF2-40B4-BE49-F238E27FC236}">
                      <a16:creationId xmlns:a16="http://schemas.microsoft.com/office/drawing/2014/main" id="{2C5C3A87-06AD-2C4F-9DC4-6000A647C5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id="{281582EA-F393-1147-828A-D50AB16A990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BACC31F5-D05D-4A41-B49F-42A54E4620F2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89" name="Straight Arrow Connector 88">
                <a:extLst>
                  <a:ext uri="{FF2B5EF4-FFF2-40B4-BE49-F238E27FC236}">
                    <a16:creationId xmlns:a16="http://schemas.microsoft.com/office/drawing/2014/main" id="{405C5C4B-BD92-D543-9EAC-B93AFF2A9CB7}"/>
                  </a:ext>
                </a:extLst>
              </p:cNvPr>
              <p:cNvCxnSpPr>
                <a:cxnSpLocks/>
                <a:stCxn id="88" idx="1"/>
                <a:endCxn id="93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Arrow Connector 89">
                <a:extLst>
                  <a:ext uri="{FF2B5EF4-FFF2-40B4-BE49-F238E27FC236}">
                    <a16:creationId xmlns:a16="http://schemas.microsoft.com/office/drawing/2014/main" id="{BCA96D44-28E2-B847-9649-7F42CD53BA49}"/>
                  </a:ext>
                </a:extLst>
              </p:cNvPr>
              <p:cNvCxnSpPr>
                <a:cxnSpLocks/>
                <a:stCxn id="88" idx="3"/>
                <a:endCxn id="93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2821204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2 Headshots,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402731"/>
            <a:ext cx="8280400" cy="922907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9E5FF7-98BC-884F-840D-5E423F4AF849}"/>
              </a:ext>
            </a:extLst>
          </p:cNvPr>
          <p:cNvGrpSpPr/>
          <p:nvPr userDrawn="1"/>
        </p:nvGrpSpPr>
        <p:grpSpPr>
          <a:xfrm>
            <a:off x="-256964" y="2477066"/>
            <a:ext cx="251461" cy="787628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CE00DE3-4AF7-8F42-A200-B6BF002E43A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62AF22C-7AFC-C247-A004-0952318756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5DC57299-371A-5D49-B7E8-080D3F8E7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4E3FC2-9801-F941-A31F-83FA02AAD4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A420265-8660-8D47-879D-AE5074C73B4B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244616-2BA8-434E-A138-B2D5956D9EE1}"/>
              </a:ext>
            </a:extLst>
          </p:cNvPr>
          <p:cNvGrpSpPr/>
          <p:nvPr userDrawn="1"/>
        </p:nvGrpSpPr>
        <p:grpSpPr>
          <a:xfrm>
            <a:off x="-256964" y="3622629"/>
            <a:ext cx="251461" cy="1506813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09CBFCC-B5CB-D24E-8728-2AAEE959FF6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977E976A-5E64-D14B-BA4C-4F26EF696B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00263B3-BEFA-F84D-A346-488994B50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D5E94FD-3E4F-7A4D-8F85-338D20425FB9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C137DA0-E7A0-8348-964C-0094E9A21AD9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pic>
        <p:nvPicPr>
          <p:cNvPr id="24" name="Graphic 23">
            <a:extLst>
              <a:ext uri="{FF2B5EF4-FFF2-40B4-BE49-F238E27FC236}">
                <a16:creationId xmlns:a16="http://schemas.microsoft.com/office/drawing/2014/main" id="{A51D81C6-D41D-9C48-B9F1-95BFC2FEC1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8D9716CF-B3CC-9749-B8D6-4D1852A621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6852" y="3604148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C91DC8D-5748-6C4F-BAA3-A949A24C8E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0739" y="3604148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0216EB2D-59F4-FD47-931E-E02AB99C268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800" y="3603625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97F05825-72C9-7043-8C8F-2226D2DE63D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95687" y="3603625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2FBAFDC7-47DA-9C4A-816F-E85B56A431AE}"/>
              </a:ext>
            </a:extLst>
          </p:cNvPr>
          <p:cNvGrpSpPr/>
          <p:nvPr userDrawn="1"/>
        </p:nvGrpSpPr>
        <p:grpSpPr>
          <a:xfrm>
            <a:off x="9399182" y="-1"/>
            <a:ext cx="2961715" cy="8383282"/>
            <a:chOff x="9399182" y="-1"/>
            <a:chExt cx="2961715" cy="8383282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7A2DDC7-CEC7-FF41-8438-335E93560D63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2296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3D54E816-A47F-9749-8EC0-C0EC180FF7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0ABBEEBD-B580-2448-9DEE-78136FA2421D}"/>
                </a:ext>
              </a:extLst>
            </p:cNvPr>
            <p:cNvSpPr txBox="1"/>
            <p:nvPr userDrawn="1"/>
          </p:nvSpPr>
          <p:spPr>
            <a:xfrm>
              <a:off x="9558507" y="3863269"/>
              <a:ext cx="2159245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IPS FOR ADDING HEADSHOTS</a:t>
              </a: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3269366-0820-BA46-81B5-20DC9631FC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6588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49CD1A0-1933-B347-9CB4-36408A1C9217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5FD3FB48-94EB-1B4E-81F7-1FE45EDD3C39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E9B96E12-B99E-D44E-89CE-B8A44D18D3F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3DCCE05-B8D4-1F4C-8BFF-80AE234A7349}"/>
                </a:ext>
              </a:extLst>
            </p:cNvPr>
            <p:cNvSpPr/>
            <p:nvPr userDrawn="1"/>
          </p:nvSpPr>
          <p:spPr>
            <a:xfrm>
              <a:off x="9541497" y="6971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0169AEC9-5839-9445-8182-C14959A558B4}"/>
                </a:ext>
              </a:extLst>
            </p:cNvPr>
            <p:cNvSpPr txBox="1"/>
            <p:nvPr userDrawn="1"/>
          </p:nvSpPr>
          <p:spPr>
            <a:xfrm>
              <a:off x="9907688" y="7100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B5D3FADB-81B2-5447-A92A-F89A20223B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7111049"/>
              <a:ext cx="155227" cy="155227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4E5FFD5-1A47-A54C-AB01-D7E7F47A6776}"/>
                </a:ext>
              </a:extLst>
            </p:cNvPr>
            <p:cNvSpPr txBox="1"/>
            <p:nvPr userDrawn="1"/>
          </p:nvSpPr>
          <p:spPr>
            <a:xfrm>
              <a:off x="9716735" y="7680749"/>
              <a:ext cx="2422981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34938" lvl="1" indent="-13176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BD396389-F227-194B-8487-C4FE671EBEBF}"/>
                </a:ext>
              </a:extLst>
            </p:cNvPr>
            <p:cNvSpPr txBox="1"/>
            <p:nvPr userDrawn="1"/>
          </p:nvSpPr>
          <p:spPr>
            <a:xfrm>
              <a:off x="9716735" y="7361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D61651D-60D1-2141-97AD-456E38DCC979}"/>
                </a:ext>
              </a:extLst>
            </p:cNvPr>
            <p:cNvSpPr txBox="1"/>
            <p:nvPr userDrawn="1"/>
          </p:nvSpPr>
          <p:spPr>
            <a:xfrm>
              <a:off x="9716735" y="8130426"/>
              <a:ext cx="2422981" cy="1384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ECF4C248-85A7-1545-ADEF-643AC9D31C7D}"/>
                </a:ext>
              </a:extLst>
            </p:cNvPr>
            <p:cNvSpPr/>
            <p:nvPr userDrawn="1"/>
          </p:nvSpPr>
          <p:spPr>
            <a:xfrm>
              <a:off x="9541497" y="5615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01F7ED9B-4120-C24F-8900-05688AA058B6}"/>
                </a:ext>
              </a:extLst>
            </p:cNvPr>
            <p:cNvSpPr txBox="1"/>
            <p:nvPr userDrawn="1"/>
          </p:nvSpPr>
          <p:spPr>
            <a:xfrm>
              <a:off x="9907688" y="5744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C51F0AD1-C4CD-AF43-B356-01B7B3AD94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5754392"/>
              <a:ext cx="155227" cy="155227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B7DC1C2B-EC3F-BA43-9A91-D3ADD23C3B7A}"/>
                </a:ext>
              </a:extLst>
            </p:cNvPr>
            <p:cNvSpPr txBox="1"/>
            <p:nvPr userDrawn="1"/>
          </p:nvSpPr>
          <p:spPr>
            <a:xfrm>
              <a:off x="9701720" y="6008293"/>
              <a:ext cx="2384904" cy="73866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0D9C39FB-7101-2C49-A7AF-EDE1C444F04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33684" t="12097" r="43371" b="20368"/>
            <a:stretch/>
          </p:blipFill>
          <p:spPr>
            <a:xfrm>
              <a:off x="11498723" y="6092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9CC55C53-92B2-C546-BE73-3BD2B881D4B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21341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9EEB8476-E283-6A41-84A9-A2C4E784944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53816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EE411E8-9BC9-C04A-88A2-8770C3CDDD21}"/>
                </a:ext>
              </a:extLst>
            </p:cNvPr>
            <p:cNvSpPr txBox="1"/>
            <p:nvPr userDrawn="1"/>
          </p:nvSpPr>
          <p:spPr>
            <a:xfrm>
              <a:off x="9686426" y="4188389"/>
              <a:ext cx="2453290" cy="16158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Add the photos to the placeholders.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6F252C8B-A514-954B-BC9F-E4AF5A09F0EC}"/>
                </a:ext>
              </a:extLst>
            </p:cNvPr>
            <p:cNvSpPr txBox="1"/>
            <p:nvPr userDrawn="1"/>
          </p:nvSpPr>
          <p:spPr>
            <a:xfrm>
              <a:off x="9686425" y="4503349"/>
              <a:ext cx="1468453" cy="93718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rop the headshots so that they match:</a:t>
              </a:r>
            </a:p>
            <a:p>
              <a:pPr lvl="1"/>
              <a:r>
                <a:rPr lang="en-US" dirty="0"/>
                <a:t>Heads are the same size and relative position</a:t>
              </a:r>
            </a:p>
            <a:p>
              <a:pPr marL="134938" marR="0" lvl="1" indent="-131763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lang="en-US" dirty="0"/>
                <a:t>The entire head is visible</a:t>
              </a:r>
            </a:p>
            <a:p>
              <a:pPr lvl="1"/>
              <a:r>
                <a:rPr lang="en-US" dirty="0"/>
                <a:t>Shoulders are visible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032BB037-EDB0-194D-9E71-040FE1867B64}"/>
                </a:ext>
              </a:extLst>
            </p:cNvPr>
            <p:cNvSpPr/>
            <p:nvPr userDrawn="1"/>
          </p:nvSpPr>
          <p:spPr>
            <a:xfrm>
              <a:off x="9541497" y="1981952"/>
              <a:ext cx="2735151" cy="1739504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3EA2B74-83D8-7542-91F6-476FF3AC2DC4}"/>
                </a:ext>
              </a:extLst>
            </p:cNvPr>
            <p:cNvSpPr txBox="1"/>
            <p:nvPr userDrawn="1"/>
          </p:nvSpPr>
          <p:spPr>
            <a:xfrm>
              <a:off x="9907688" y="2110751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Undo Hyperlink</a:t>
              </a: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11BFA0A0-D799-E747-B082-8C9228649C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2121034"/>
              <a:ext cx="155227" cy="155227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B54C888B-8D9B-0F49-958D-10DF1E18C36A}"/>
                </a:ext>
              </a:extLst>
            </p:cNvPr>
            <p:cNvSpPr txBox="1"/>
            <p:nvPr userDrawn="1"/>
          </p:nvSpPr>
          <p:spPr>
            <a:xfrm>
              <a:off x="9701720" y="2736190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s soon as the hyperlink formatting appears, Undo once to remove the format.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E7842C4-CD36-214E-8855-3F2C2B51C2CB}"/>
                </a:ext>
              </a:extLst>
            </p:cNvPr>
            <p:cNvSpPr txBox="1"/>
            <p:nvPr userDrawn="1"/>
          </p:nvSpPr>
          <p:spPr>
            <a:xfrm>
              <a:off x="9694938" y="2378702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yping an email address into the contact info will automatically create a hyperlink.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1B51B1E1-437F-B24F-91B7-36B605E62803}"/>
                </a:ext>
              </a:extLst>
            </p:cNvPr>
            <p:cNvSpPr txBox="1"/>
            <p:nvPr userDrawn="1"/>
          </p:nvSpPr>
          <p:spPr>
            <a:xfrm>
              <a:off x="9830981" y="3018869"/>
              <a:ext cx="2374733" cy="969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>
                  <a:solidFill>
                    <a:schemeClr val="bg1">
                      <a:lumMod val="65000"/>
                    </a:schemeClr>
                  </a:solidFill>
                </a:rPr>
                <a:t>You can use CTRL+Z or the menu button.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BD384708-F855-C94E-8FD0-900BDD4CB339}"/>
                </a:ext>
              </a:extLst>
            </p:cNvPr>
            <p:cNvSpPr txBox="1"/>
            <p:nvPr userDrawn="1"/>
          </p:nvSpPr>
          <p:spPr>
            <a:xfrm>
              <a:off x="9701720" y="3193390"/>
              <a:ext cx="2384904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To remove an pre-existing hyperlink, </a:t>
              </a:r>
              <a:b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</a:b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 click on the hyperlink and choose “Remove Link” (                 )</a:t>
              </a: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87400EAF-8B50-254F-9E36-50BCDA0B4E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4852" t="17138" r="10283" b="11792"/>
            <a:stretch/>
          </p:blipFill>
          <p:spPr>
            <a:xfrm>
              <a:off x="10676602" y="3460165"/>
              <a:ext cx="478277" cy="101726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1315041C-6446-BA45-BB92-81623B91BF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1251841" y="4562988"/>
              <a:ext cx="849028" cy="849028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C2898206-9D7A-634C-8B17-25423B6E185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8D78739-06CA-C84C-8CB1-9AD8B79040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F5565709-B9E5-D144-96ED-FC30124F65FB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E5AA293F-0CF5-7545-834F-D3B07B05575B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D0210AB-D4A2-6B4B-9766-A018ACB62B6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9ED0F83E-143B-4E4C-8E09-48DC265A2C3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1230ADFF-86EA-7743-91D7-675CC975C43A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3202D28D-8AE8-5D41-9317-C24167899E33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689AD7B8-DFBE-9546-9D2D-34F6F277643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BF892C78-5626-7D49-9B76-4630814D198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41E4DD53-C6B5-2D4E-B89E-E0F0EBD30FFA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FB57A5FF-FF40-4340-B648-30A3D5237DE4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4DDC1F11-CD77-844E-A086-A78F439662B6}"/>
                  </a:ext>
                </a:extLst>
              </p:cNvPr>
              <p:cNvCxnSpPr>
                <a:cxnSpLocks/>
                <a:stCxn id="108" idx="1"/>
                <a:endCxn id="113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Arrow Connector 109">
                <a:extLst>
                  <a:ext uri="{FF2B5EF4-FFF2-40B4-BE49-F238E27FC236}">
                    <a16:creationId xmlns:a16="http://schemas.microsoft.com/office/drawing/2014/main" id="{1B108CCF-6F68-F24A-A245-6872CBB92F69}"/>
                  </a:ext>
                </a:extLst>
              </p:cNvPr>
              <p:cNvCxnSpPr>
                <a:cxnSpLocks/>
                <a:stCxn id="108" idx="3"/>
                <a:endCxn id="113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468906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2 Headshots,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402731"/>
            <a:ext cx="8280400" cy="922907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29E5FF7-98BC-884F-840D-5E423F4AF849}"/>
              </a:ext>
            </a:extLst>
          </p:cNvPr>
          <p:cNvGrpSpPr/>
          <p:nvPr userDrawn="1"/>
        </p:nvGrpSpPr>
        <p:grpSpPr>
          <a:xfrm>
            <a:off x="-256964" y="2477066"/>
            <a:ext cx="251461" cy="787628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CE00DE3-4AF7-8F42-A200-B6BF002E43A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62AF22C-7AFC-C247-A004-0952318756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5DC57299-371A-5D49-B7E8-080D3F8E7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4E3FC2-9801-F941-A31F-83FA02AAD4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A420265-8660-8D47-879D-AE5074C73B4B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8244616-2BA8-434E-A138-B2D5956D9EE1}"/>
              </a:ext>
            </a:extLst>
          </p:cNvPr>
          <p:cNvGrpSpPr/>
          <p:nvPr userDrawn="1"/>
        </p:nvGrpSpPr>
        <p:grpSpPr>
          <a:xfrm>
            <a:off x="-256964" y="3622629"/>
            <a:ext cx="251461" cy="1506813"/>
            <a:chOff x="-256404" y="360363"/>
            <a:chExt cx="251461" cy="6921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09CBFCC-B5CB-D24E-8728-2AAEE959FF6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977E976A-5E64-D14B-BA4C-4F26EF696B7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100263B3-BEFA-F84D-A346-488994B50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0D5E94FD-3E4F-7A4D-8F85-338D20425FB9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C137DA0-E7A0-8348-964C-0094E9A21AD9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pic>
        <p:nvPicPr>
          <p:cNvPr id="25" name="Graphic 24">
            <a:extLst>
              <a:ext uri="{FF2B5EF4-FFF2-40B4-BE49-F238E27FC236}">
                <a16:creationId xmlns:a16="http://schemas.microsoft.com/office/drawing/2014/main" id="{D04C2D26-D34C-9A43-9F15-4312C0BA43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724098" y="5966248"/>
            <a:ext cx="2151407" cy="555202"/>
          </a:xfrm>
          <a:prstGeom prst="rect">
            <a:avLst/>
          </a:prstGeom>
        </p:spPr>
      </p:pic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BFDB021-8BC9-EA47-8986-9CAF470702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6852" y="3604148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0D2085C-21C8-514C-9468-7260886064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0739" y="3604148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6956F67-281F-0940-9C57-1BE70F2D287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800" y="3603625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F8479724-C6A7-D34A-BCE9-1A7017A9B71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95687" y="3603625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014C08B-50EC-6E40-91DC-5D199BFEE278}"/>
              </a:ext>
            </a:extLst>
          </p:cNvPr>
          <p:cNvGrpSpPr/>
          <p:nvPr userDrawn="1"/>
        </p:nvGrpSpPr>
        <p:grpSpPr>
          <a:xfrm>
            <a:off x="9399182" y="-1"/>
            <a:ext cx="2961715" cy="8383282"/>
            <a:chOff x="9399182" y="-1"/>
            <a:chExt cx="2961715" cy="8383282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8AB95FED-D242-4B4A-903E-4397DD60009E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2296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205F4317-9E5F-014F-84FB-54546707CF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0DDF7B1-AAA8-724F-9B80-B8A649D6417C}"/>
                </a:ext>
              </a:extLst>
            </p:cNvPr>
            <p:cNvSpPr txBox="1"/>
            <p:nvPr userDrawn="1"/>
          </p:nvSpPr>
          <p:spPr>
            <a:xfrm>
              <a:off x="9558507" y="3863269"/>
              <a:ext cx="2159245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IPS FOR ADDING HEADSHOTS</a:t>
              </a: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09B047C1-4D53-D74D-8F8F-3A27D79B0A5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6588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4DB5831-A77D-084A-A4D8-66FFF852D8EC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CB3988E-1068-5C4E-AA5D-EE2C662EF423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C6253886-63B9-DA44-93AD-DEBD64EE1C5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7D6DAF1-D397-A449-B81C-02FD9FC35BD2}"/>
                </a:ext>
              </a:extLst>
            </p:cNvPr>
            <p:cNvSpPr/>
            <p:nvPr userDrawn="1"/>
          </p:nvSpPr>
          <p:spPr>
            <a:xfrm>
              <a:off x="9541497" y="6971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8A63BD7-75CA-594F-B630-748766ED6BFD}"/>
                </a:ext>
              </a:extLst>
            </p:cNvPr>
            <p:cNvSpPr txBox="1"/>
            <p:nvPr userDrawn="1"/>
          </p:nvSpPr>
          <p:spPr>
            <a:xfrm>
              <a:off x="9907688" y="7100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80" name="Graphic 79">
              <a:extLst>
                <a:ext uri="{FF2B5EF4-FFF2-40B4-BE49-F238E27FC236}">
                  <a16:creationId xmlns:a16="http://schemas.microsoft.com/office/drawing/2014/main" id="{481143C8-3F7C-B848-881C-D21667B9C7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7111049"/>
              <a:ext cx="155227" cy="155227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9503076B-BE27-EC49-BB07-CDA23F607AD2}"/>
                </a:ext>
              </a:extLst>
            </p:cNvPr>
            <p:cNvSpPr txBox="1"/>
            <p:nvPr userDrawn="1"/>
          </p:nvSpPr>
          <p:spPr>
            <a:xfrm>
              <a:off x="9716735" y="7680749"/>
              <a:ext cx="2422981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34938" lvl="1" indent="-13176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59C8022A-B181-BE49-B15A-D72620C7061B}"/>
                </a:ext>
              </a:extLst>
            </p:cNvPr>
            <p:cNvSpPr txBox="1"/>
            <p:nvPr userDrawn="1"/>
          </p:nvSpPr>
          <p:spPr>
            <a:xfrm>
              <a:off x="9716735" y="7361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3587C716-0B4A-0A44-8B87-2CF438BEFEA8}"/>
                </a:ext>
              </a:extLst>
            </p:cNvPr>
            <p:cNvSpPr txBox="1"/>
            <p:nvPr userDrawn="1"/>
          </p:nvSpPr>
          <p:spPr>
            <a:xfrm>
              <a:off x="9716735" y="8130426"/>
              <a:ext cx="2422981" cy="1384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F09412C1-E102-5E48-AB9A-49A44A59E350}"/>
                </a:ext>
              </a:extLst>
            </p:cNvPr>
            <p:cNvSpPr/>
            <p:nvPr userDrawn="1"/>
          </p:nvSpPr>
          <p:spPr>
            <a:xfrm>
              <a:off x="9541497" y="5615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CED197C-AF58-C44F-A26F-6391B9641BB7}"/>
                </a:ext>
              </a:extLst>
            </p:cNvPr>
            <p:cNvSpPr txBox="1"/>
            <p:nvPr userDrawn="1"/>
          </p:nvSpPr>
          <p:spPr>
            <a:xfrm>
              <a:off x="9907688" y="5744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B32AB170-21E1-7447-8797-C34B52EDD8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5754392"/>
              <a:ext cx="155227" cy="155227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23ABE0DF-3A83-7644-906B-2443CF815B35}"/>
                </a:ext>
              </a:extLst>
            </p:cNvPr>
            <p:cNvSpPr txBox="1"/>
            <p:nvPr userDrawn="1"/>
          </p:nvSpPr>
          <p:spPr>
            <a:xfrm>
              <a:off x="9701720" y="6008293"/>
              <a:ext cx="2384904" cy="73866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5D6DF90E-ADF0-AE40-9662-5A3C4525ED0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33684" t="12097" r="43371" b="20368"/>
            <a:stretch/>
          </p:blipFill>
          <p:spPr>
            <a:xfrm>
              <a:off x="11498723" y="6092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624F7FAD-EDF1-9649-B62D-0EAD6312583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21341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7FD656E-F50E-6446-B1C9-643199745B1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53816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59DF2FB2-11A9-8D4C-A946-3E2F8D03A863}"/>
                </a:ext>
              </a:extLst>
            </p:cNvPr>
            <p:cNvSpPr txBox="1"/>
            <p:nvPr userDrawn="1"/>
          </p:nvSpPr>
          <p:spPr>
            <a:xfrm>
              <a:off x="9686426" y="4188389"/>
              <a:ext cx="2453290" cy="16158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Add the photos to the placeholders.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2ED69E6F-E242-3845-A02E-40BF00D2EC2E}"/>
                </a:ext>
              </a:extLst>
            </p:cNvPr>
            <p:cNvSpPr txBox="1"/>
            <p:nvPr userDrawn="1"/>
          </p:nvSpPr>
          <p:spPr>
            <a:xfrm>
              <a:off x="9686425" y="4503349"/>
              <a:ext cx="1468453" cy="93718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rop the headshots so that they match:</a:t>
              </a:r>
            </a:p>
            <a:p>
              <a:pPr lvl="1"/>
              <a:r>
                <a:rPr lang="en-US" dirty="0"/>
                <a:t>Heads are the same size and relative position</a:t>
              </a:r>
            </a:p>
            <a:p>
              <a:pPr marL="134938" marR="0" lvl="1" indent="-131763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lang="en-US" dirty="0"/>
                <a:t>The entire head is visible</a:t>
              </a:r>
            </a:p>
            <a:p>
              <a:pPr lvl="1"/>
              <a:r>
                <a:rPr lang="en-US" dirty="0"/>
                <a:t>Shoulders are visible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DED3E77A-B95D-0840-B42A-F982154E5F14}"/>
                </a:ext>
              </a:extLst>
            </p:cNvPr>
            <p:cNvSpPr/>
            <p:nvPr userDrawn="1"/>
          </p:nvSpPr>
          <p:spPr>
            <a:xfrm>
              <a:off x="9541497" y="1981952"/>
              <a:ext cx="2735151" cy="1739504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4FA6DBF9-F11E-6C44-BE7B-0A7E8F64AA89}"/>
                </a:ext>
              </a:extLst>
            </p:cNvPr>
            <p:cNvSpPr txBox="1"/>
            <p:nvPr userDrawn="1"/>
          </p:nvSpPr>
          <p:spPr>
            <a:xfrm>
              <a:off x="9907688" y="2110751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Undo Hyperlink</a:t>
              </a:r>
            </a:p>
          </p:txBody>
        </p:sp>
        <p:pic>
          <p:nvPicPr>
            <p:cNvPr id="95" name="Graphic 94">
              <a:extLst>
                <a:ext uri="{FF2B5EF4-FFF2-40B4-BE49-F238E27FC236}">
                  <a16:creationId xmlns:a16="http://schemas.microsoft.com/office/drawing/2014/main" id="{1F9E0C86-0745-CC46-AD1D-180848269E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701720" y="2121034"/>
              <a:ext cx="155227" cy="155227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6F6F45D1-6EFE-6B45-8B6F-DBFAE78D1437}"/>
                </a:ext>
              </a:extLst>
            </p:cNvPr>
            <p:cNvSpPr txBox="1"/>
            <p:nvPr userDrawn="1"/>
          </p:nvSpPr>
          <p:spPr>
            <a:xfrm>
              <a:off x="9701720" y="2736190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s soon as the hyperlink formatting appears, Undo once to remove the format.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0544C069-DAC2-4747-9A60-646318E43112}"/>
                </a:ext>
              </a:extLst>
            </p:cNvPr>
            <p:cNvSpPr txBox="1"/>
            <p:nvPr userDrawn="1"/>
          </p:nvSpPr>
          <p:spPr>
            <a:xfrm>
              <a:off x="9694938" y="2378702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yping an email address into the contact info will automatically create a hyperlink.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6F3D0D05-5454-5E48-A04F-5CA03B6B3602}"/>
                </a:ext>
              </a:extLst>
            </p:cNvPr>
            <p:cNvSpPr txBox="1"/>
            <p:nvPr userDrawn="1"/>
          </p:nvSpPr>
          <p:spPr>
            <a:xfrm>
              <a:off x="9830981" y="3018869"/>
              <a:ext cx="2374733" cy="969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>
                  <a:solidFill>
                    <a:schemeClr val="bg1">
                      <a:lumMod val="65000"/>
                    </a:schemeClr>
                  </a:solidFill>
                </a:rPr>
                <a:t>You can use CTRL+Z or the menu button.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78D4761D-A79D-EC47-ABB0-FD3B6AF76846}"/>
                </a:ext>
              </a:extLst>
            </p:cNvPr>
            <p:cNvSpPr txBox="1"/>
            <p:nvPr userDrawn="1"/>
          </p:nvSpPr>
          <p:spPr>
            <a:xfrm>
              <a:off x="9701720" y="3193390"/>
              <a:ext cx="2384904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To remove an pre-existing hyperlink, </a:t>
              </a:r>
              <a:b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</a:b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 click on the hyperlink and choose “Remove Link” (                 )</a:t>
              </a:r>
            </a:p>
          </p:txBody>
        </p:sp>
        <p:pic>
          <p:nvPicPr>
            <p:cNvPr id="100" name="Picture 99">
              <a:extLst>
                <a:ext uri="{FF2B5EF4-FFF2-40B4-BE49-F238E27FC236}">
                  <a16:creationId xmlns:a16="http://schemas.microsoft.com/office/drawing/2014/main" id="{D8C0288D-BEA3-4347-89F3-10E891E53EC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/>
            <a:srcRect l="4852" t="17138" r="10283" b="11792"/>
            <a:stretch/>
          </p:blipFill>
          <p:spPr>
            <a:xfrm>
              <a:off x="10676602" y="3460165"/>
              <a:ext cx="478277" cy="101726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C2EB5A16-EAA2-BC49-A6E3-EBFCAB6357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11251841" y="4562988"/>
              <a:ext cx="849028" cy="849028"/>
            </a:xfrm>
            <a:prstGeom prst="rect">
              <a:avLst/>
            </a:prstGeom>
          </p:spPr>
        </p:pic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0371FFE2-BA6B-2046-BD44-A8983AD69685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70ACF86C-9EB8-B643-9EF3-CE5669FB41E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56F5DA9D-A83E-0E43-B12B-971AA4C127E2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5C75549D-EBC1-9C4C-800F-8959A08EB7BB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E5501523-0530-EE43-B937-C26AD69BE2C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9C9455B4-7F5F-604F-8654-BE1E95726C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65666F82-53E6-824D-BC78-74E082A95A8A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50217315-EACD-2843-ACBF-887A99AB6B5A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111" name="Straight Connector 110">
                  <a:extLst>
                    <a:ext uri="{FF2B5EF4-FFF2-40B4-BE49-F238E27FC236}">
                      <a16:creationId xmlns:a16="http://schemas.microsoft.com/office/drawing/2014/main" id="{7CF4F87D-3E89-D044-AA6B-F4275E8BD25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>
                  <a:extLst>
                    <a:ext uri="{FF2B5EF4-FFF2-40B4-BE49-F238E27FC236}">
                      <a16:creationId xmlns:a16="http://schemas.microsoft.com/office/drawing/2014/main" id="{3690A968-541F-ED41-B6ED-1D7566AFCC3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Rectangle 112">
                  <a:extLst>
                    <a:ext uri="{FF2B5EF4-FFF2-40B4-BE49-F238E27FC236}">
                      <a16:creationId xmlns:a16="http://schemas.microsoft.com/office/drawing/2014/main" id="{639845D3-D19F-1748-A15A-7A066F2E9459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92B5BD0C-F803-D94A-A277-DCCF5C956E2D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109" name="Straight Arrow Connector 108">
                <a:extLst>
                  <a:ext uri="{FF2B5EF4-FFF2-40B4-BE49-F238E27FC236}">
                    <a16:creationId xmlns:a16="http://schemas.microsoft.com/office/drawing/2014/main" id="{32AD3739-9F2B-E348-8995-21C95F726E7B}"/>
                  </a:ext>
                </a:extLst>
              </p:cNvPr>
              <p:cNvCxnSpPr>
                <a:cxnSpLocks/>
                <a:stCxn id="108" idx="1"/>
                <a:endCxn id="113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Arrow Connector 109">
                <a:extLst>
                  <a:ext uri="{FF2B5EF4-FFF2-40B4-BE49-F238E27FC236}">
                    <a16:creationId xmlns:a16="http://schemas.microsoft.com/office/drawing/2014/main" id="{6D01C25D-77F7-C345-910D-4A71A682AA58}"/>
                  </a:ext>
                </a:extLst>
              </p:cNvPr>
              <p:cNvCxnSpPr>
                <a:cxnSpLocks/>
                <a:stCxn id="108" idx="3"/>
                <a:endCxn id="113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485062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embers (6 Headsho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3E7C59C-7AB2-FD4B-9D3E-CA7E0D8CB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Slide TITLE. ALL CAPS. TWO LINES max.</a:t>
            </a:r>
          </a:p>
        </p:txBody>
      </p:sp>
      <p:sp>
        <p:nvSpPr>
          <p:cNvPr id="32" name="Date Placeholder 31">
            <a:extLst>
              <a:ext uri="{FF2B5EF4-FFF2-40B4-BE49-F238E27FC236}">
                <a16:creationId xmlns:a16="http://schemas.microsoft.com/office/drawing/2014/main" id="{063A222F-451A-4B49-AAE6-41BBAA48AC75}"/>
              </a:ext>
            </a:extLst>
          </p:cNvPr>
          <p:cNvSpPr>
            <a:spLocks noGrp="1"/>
          </p:cNvSpPr>
          <p:nvPr>
            <p:ph type="dt" sz="half" idx="10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7182972C-B32C-5242-9660-1F857E08362B}"/>
              </a:ext>
            </a:extLst>
          </p:cNvPr>
          <p:cNvSpPr>
            <a:spLocks noGrp="1"/>
          </p:cNvSpPr>
          <p:nvPr>
            <p:ph type="ftr" sz="quarter" idx="10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702F905D-B5C6-604B-A8D6-931CBE08DB32}"/>
              </a:ext>
            </a:extLst>
          </p:cNvPr>
          <p:cNvSpPr>
            <a:spLocks noGrp="1"/>
          </p:cNvSpPr>
          <p:nvPr>
            <p:ph type="sldNum" sz="quarter" idx="10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6852" y="1233488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2" name="Picture Placeholder 2">
            <a:extLst>
              <a:ext uri="{FF2B5EF4-FFF2-40B4-BE49-F238E27FC236}">
                <a16:creationId xmlns:a16="http://schemas.microsoft.com/office/drawing/2014/main" id="{3953A8BD-C2FA-AE49-99CC-15B59CE56A1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1800" y="1232965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1B6BB86B-8CCA-614F-97F8-932E6DC1B8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10739" y="1233488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4" name="Picture Placeholder 2">
            <a:extLst>
              <a:ext uri="{FF2B5EF4-FFF2-40B4-BE49-F238E27FC236}">
                <a16:creationId xmlns:a16="http://schemas.microsoft.com/office/drawing/2014/main" id="{E582B670-FA91-C849-BD22-A066A6FE9B5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95687" y="1232965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001" hasCustomPrompt="1"/>
          </p:nvPr>
        </p:nvSpPr>
        <p:spPr>
          <a:xfrm>
            <a:off x="2146852" y="4607601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6" name="Picture Placeholder 2">
            <a:extLst>
              <a:ext uri="{FF2B5EF4-FFF2-40B4-BE49-F238E27FC236}">
                <a16:creationId xmlns:a16="http://schemas.microsoft.com/office/drawing/2014/main" id="{3953A8BD-C2FA-AE49-99CC-15B59CE56A15}"/>
              </a:ext>
            </a:extLst>
          </p:cNvPr>
          <p:cNvSpPr>
            <a:spLocks noGrp="1"/>
          </p:cNvSpPr>
          <p:nvPr>
            <p:ph type="pic" sz="quarter" idx="1002" hasCustomPrompt="1"/>
          </p:nvPr>
        </p:nvSpPr>
        <p:spPr>
          <a:xfrm>
            <a:off x="431800" y="4607078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1B6BB86B-8CCA-614F-97F8-932E6DC1B83C}"/>
              </a:ext>
            </a:extLst>
          </p:cNvPr>
          <p:cNvSpPr>
            <a:spLocks noGrp="1"/>
          </p:cNvSpPr>
          <p:nvPr>
            <p:ph type="body" sz="quarter" idx="1003" hasCustomPrompt="1"/>
          </p:nvPr>
        </p:nvSpPr>
        <p:spPr>
          <a:xfrm>
            <a:off x="6410739" y="4607601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8" name="Picture Placeholder 2">
            <a:extLst>
              <a:ext uri="{FF2B5EF4-FFF2-40B4-BE49-F238E27FC236}">
                <a16:creationId xmlns:a16="http://schemas.microsoft.com/office/drawing/2014/main" id="{E582B670-FA91-C849-BD22-A066A6FE9B53}"/>
              </a:ext>
            </a:extLst>
          </p:cNvPr>
          <p:cNvSpPr>
            <a:spLocks noGrp="1"/>
          </p:cNvSpPr>
          <p:nvPr>
            <p:ph type="pic" sz="quarter" idx="1004" hasCustomPrompt="1"/>
          </p:nvPr>
        </p:nvSpPr>
        <p:spPr>
          <a:xfrm>
            <a:off x="4695687" y="4607078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>
            <p:ph type="body" sz="quarter" idx="1005" hasCustomPrompt="1"/>
          </p:nvPr>
        </p:nvSpPr>
        <p:spPr>
          <a:xfrm>
            <a:off x="2146852" y="2913206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0" name="Picture Placeholder 2">
            <a:extLst>
              <a:ext uri="{FF2B5EF4-FFF2-40B4-BE49-F238E27FC236}">
                <a16:creationId xmlns:a16="http://schemas.microsoft.com/office/drawing/2014/main" id="{3953A8BD-C2FA-AE49-99CC-15B59CE56A15}"/>
              </a:ext>
            </a:extLst>
          </p:cNvPr>
          <p:cNvSpPr>
            <a:spLocks noGrp="1"/>
          </p:cNvSpPr>
          <p:nvPr>
            <p:ph type="pic" sz="quarter" idx="1006" hasCustomPrompt="1"/>
          </p:nvPr>
        </p:nvSpPr>
        <p:spPr>
          <a:xfrm>
            <a:off x="431800" y="2912683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1B6BB86B-8CCA-614F-97F8-932E6DC1B83C}"/>
              </a:ext>
            </a:extLst>
          </p:cNvPr>
          <p:cNvSpPr>
            <a:spLocks noGrp="1"/>
          </p:cNvSpPr>
          <p:nvPr>
            <p:ph type="body" sz="quarter" idx="1007" hasCustomPrompt="1"/>
          </p:nvPr>
        </p:nvSpPr>
        <p:spPr>
          <a:xfrm>
            <a:off x="6410739" y="2913206"/>
            <a:ext cx="2301461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2" name="Picture Placeholder 2">
            <a:extLst>
              <a:ext uri="{FF2B5EF4-FFF2-40B4-BE49-F238E27FC236}">
                <a16:creationId xmlns:a16="http://schemas.microsoft.com/office/drawing/2014/main" id="{E582B670-FA91-C849-BD22-A066A6FE9B53}"/>
              </a:ext>
            </a:extLst>
          </p:cNvPr>
          <p:cNvSpPr>
            <a:spLocks noGrp="1"/>
          </p:cNvSpPr>
          <p:nvPr>
            <p:ph type="pic" sz="quarter" idx="1008" hasCustomPrompt="1"/>
          </p:nvPr>
        </p:nvSpPr>
        <p:spPr>
          <a:xfrm>
            <a:off x="4695687" y="2912683"/>
            <a:ext cx="1543050" cy="154305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headshot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766E2A4-7A9C-6B40-BD3F-4DD3FBAE2121}"/>
              </a:ext>
            </a:extLst>
          </p:cNvPr>
          <p:cNvGrpSpPr/>
          <p:nvPr userDrawn="1"/>
        </p:nvGrpSpPr>
        <p:grpSpPr>
          <a:xfrm>
            <a:off x="9399182" y="-1"/>
            <a:ext cx="2961715" cy="8383282"/>
            <a:chOff x="9399182" y="-1"/>
            <a:chExt cx="2961715" cy="8383282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34C8B5B-FB2C-7C44-AAFB-0A322448A16B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2296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535BEB65-F661-CA44-BF4A-4739FD15E7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E0FF283-DF06-F948-94DA-DE9EF964F624}"/>
                </a:ext>
              </a:extLst>
            </p:cNvPr>
            <p:cNvSpPr txBox="1"/>
            <p:nvPr userDrawn="1"/>
          </p:nvSpPr>
          <p:spPr>
            <a:xfrm>
              <a:off x="9558507" y="3863269"/>
              <a:ext cx="2159245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IPS FOR ADDING HEADSHOTS</a:t>
              </a: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8F507BA-3C92-8644-BDBD-45B4FDF18B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4065886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C71155CD-BB6D-C646-8CC8-AF1F24B7C98C}"/>
                </a:ext>
              </a:extLst>
            </p:cNvPr>
            <p:cNvSpPr/>
            <p:nvPr userDrawn="1"/>
          </p:nvSpPr>
          <p:spPr>
            <a:xfrm>
              <a:off x="9541497" y="162442"/>
              <a:ext cx="2819400" cy="814510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CCC62A9D-5394-674A-BEAB-97FADBEC0916}"/>
                </a:ext>
              </a:extLst>
            </p:cNvPr>
            <p:cNvSpPr txBox="1"/>
            <p:nvPr userDrawn="1"/>
          </p:nvSpPr>
          <p:spPr>
            <a:xfrm>
              <a:off x="10147060" y="306441"/>
              <a:ext cx="2129588" cy="507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Access programmed text formats by using the ‘Indent More’ button to change the indent level.</a:t>
              </a: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0E89AECA-429D-484C-90EB-560EABFCF6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8882" t="5165" r="-1"/>
            <a:stretch/>
          </p:blipFill>
          <p:spPr>
            <a:xfrm>
              <a:off x="9694938" y="411250"/>
              <a:ext cx="324017" cy="289055"/>
            </a:xfrm>
            <a:prstGeom prst="roundRect">
              <a:avLst/>
            </a:prstGeom>
          </p:spPr>
        </p:pic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D2341F3F-7DFB-874E-A13E-07D7F7B9D8F1}"/>
                </a:ext>
              </a:extLst>
            </p:cNvPr>
            <p:cNvSpPr/>
            <p:nvPr userDrawn="1"/>
          </p:nvSpPr>
          <p:spPr>
            <a:xfrm>
              <a:off x="9541497" y="6971966"/>
              <a:ext cx="2735151" cy="1411315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85D71E54-D6BA-0E40-A53B-AF7E62071130}"/>
                </a:ext>
              </a:extLst>
            </p:cNvPr>
            <p:cNvSpPr txBox="1"/>
            <p:nvPr userDrawn="1"/>
          </p:nvSpPr>
          <p:spPr>
            <a:xfrm>
              <a:off x="9907688" y="7100766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hange Image</a:t>
              </a:r>
            </a:p>
          </p:txBody>
        </p:sp>
        <p:pic>
          <p:nvPicPr>
            <p:cNvPr id="68" name="Graphic 67">
              <a:extLst>
                <a:ext uri="{FF2B5EF4-FFF2-40B4-BE49-F238E27FC236}">
                  <a16:creationId xmlns:a16="http://schemas.microsoft.com/office/drawing/2014/main" id="{BB5031F7-D2AF-CA4F-A8CB-7CFFD0DFE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7111049"/>
              <a:ext cx="155227" cy="155227"/>
            </a:xfrm>
            <a:prstGeom prst="rect">
              <a:avLst/>
            </a:prstGeom>
          </p:spPr>
        </p:pic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CF278F6-1885-9845-A8B6-104A81007CE1}"/>
                </a:ext>
              </a:extLst>
            </p:cNvPr>
            <p:cNvSpPr txBox="1"/>
            <p:nvPr userDrawn="1"/>
          </p:nvSpPr>
          <p:spPr>
            <a:xfrm>
              <a:off x="9716735" y="7680749"/>
              <a:ext cx="2422981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134938" lvl="1" indent="-131763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Wingdings" pitchFamily="2" charset="2"/>
                <a:buChar char="§"/>
                <a:tabLst/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Deleting the image may bring the image placeholder to the top layer. Right-click on the placeholder and choose “Send to Back”.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6ACDF17-388A-C643-B5AD-ED6E1C649F65}"/>
                </a:ext>
              </a:extLst>
            </p:cNvPr>
            <p:cNvSpPr txBox="1"/>
            <p:nvPr userDrawn="1"/>
          </p:nvSpPr>
          <p:spPr>
            <a:xfrm>
              <a:off x="9716735" y="7361905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irst, delete the existing image to reset the photo placeholder functionality.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38CA5F0-0B3E-8343-A9CF-99D356C37500}"/>
                </a:ext>
              </a:extLst>
            </p:cNvPr>
            <p:cNvSpPr txBox="1"/>
            <p:nvPr userDrawn="1"/>
          </p:nvSpPr>
          <p:spPr>
            <a:xfrm>
              <a:off x="9716735" y="8130426"/>
              <a:ext cx="2422981" cy="1384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You can now add a new image as normal.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D42C796-9096-EE43-BA39-054BDFD8C7DC}"/>
                </a:ext>
              </a:extLst>
            </p:cNvPr>
            <p:cNvSpPr/>
            <p:nvPr userDrawn="1"/>
          </p:nvSpPr>
          <p:spPr>
            <a:xfrm>
              <a:off x="9541497" y="5615310"/>
              <a:ext cx="2735151" cy="1280928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45520887-BC9C-114D-AD47-51EA84357B7B}"/>
                </a:ext>
              </a:extLst>
            </p:cNvPr>
            <p:cNvSpPr txBox="1"/>
            <p:nvPr userDrawn="1"/>
          </p:nvSpPr>
          <p:spPr>
            <a:xfrm>
              <a:off x="9907688" y="5744109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Crop Image</a:t>
              </a:r>
            </a:p>
          </p:txBody>
        </p: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3577901F-4F1C-6E43-AE9A-07AC98F7E6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5754392"/>
              <a:ext cx="155227" cy="155227"/>
            </a:xfrm>
            <a:prstGeom prst="rect">
              <a:avLst/>
            </a:prstGeom>
          </p:spPr>
        </p:pic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7B01DCF4-9CAD-3E46-8A50-BC4709155B06}"/>
                </a:ext>
              </a:extLst>
            </p:cNvPr>
            <p:cNvSpPr txBox="1"/>
            <p:nvPr userDrawn="1"/>
          </p:nvSpPr>
          <p:spPr>
            <a:xfrm>
              <a:off x="9701720" y="6008293"/>
              <a:ext cx="2384904" cy="73866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-click on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Choose “Crop” from the menu. (       )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djust the size and position of the image.</a:t>
              </a:r>
            </a:p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Press Esc or click outside the image area to exit the cropping mode.</a:t>
              </a:r>
            </a:p>
          </p:txBody>
        </p: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C7C815DD-9D6F-524D-8717-D4D467D9AC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33684" t="12097" r="43371" b="20368"/>
            <a:stretch/>
          </p:blipFill>
          <p:spPr>
            <a:xfrm>
              <a:off x="11498723" y="6092726"/>
              <a:ext cx="136897" cy="213643"/>
            </a:xfrm>
            <a:prstGeom prst="rect">
              <a:avLst/>
            </a:prstGeom>
            <a:ln w="19050"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A45E990-D01D-064A-A20A-E8C8CC6E4AB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21341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AA89570-2399-5847-8669-4AAF530EA38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453816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8BE45B5-340E-F641-B09F-AD59D8FD0DD5}"/>
                </a:ext>
              </a:extLst>
            </p:cNvPr>
            <p:cNvSpPr txBox="1"/>
            <p:nvPr userDrawn="1"/>
          </p:nvSpPr>
          <p:spPr>
            <a:xfrm>
              <a:off x="9686426" y="4188389"/>
              <a:ext cx="2453290" cy="16158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Add the photos to the placeholders.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AB12CD4-A662-8E4E-A50D-9F0F7977FB9C}"/>
                </a:ext>
              </a:extLst>
            </p:cNvPr>
            <p:cNvSpPr txBox="1"/>
            <p:nvPr userDrawn="1"/>
          </p:nvSpPr>
          <p:spPr>
            <a:xfrm>
              <a:off x="9686425" y="4503349"/>
              <a:ext cx="1468453" cy="93718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Crop the headshots so that they match:</a:t>
              </a:r>
            </a:p>
            <a:p>
              <a:pPr lvl="1"/>
              <a:r>
                <a:rPr lang="en-US" dirty="0"/>
                <a:t>Heads are the same size and relative position</a:t>
              </a:r>
            </a:p>
            <a:p>
              <a:pPr marL="134938" marR="0" lvl="1" indent="-131763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Char char="§"/>
                <a:tabLst/>
                <a:defRPr/>
              </a:pPr>
              <a:r>
                <a:rPr lang="en-US" dirty="0"/>
                <a:t>The entire head is visible</a:t>
              </a:r>
            </a:p>
            <a:p>
              <a:pPr lvl="1"/>
              <a:r>
                <a:rPr lang="en-US" dirty="0"/>
                <a:t>Shoulders are visible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DE9B88A4-46AB-6C41-B3DF-20247111449B}"/>
                </a:ext>
              </a:extLst>
            </p:cNvPr>
            <p:cNvSpPr/>
            <p:nvPr userDrawn="1"/>
          </p:nvSpPr>
          <p:spPr>
            <a:xfrm>
              <a:off x="9541497" y="1981952"/>
              <a:ext cx="2735151" cy="1739504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D7C5D91-095D-0049-BECC-ACFE7362EAB2}"/>
                </a:ext>
              </a:extLst>
            </p:cNvPr>
            <p:cNvSpPr txBox="1"/>
            <p:nvPr userDrawn="1"/>
          </p:nvSpPr>
          <p:spPr>
            <a:xfrm>
              <a:off x="9907688" y="2110751"/>
              <a:ext cx="2368960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algn="l"/>
              <a:r>
                <a:rPr lang="en-US" sz="11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P: Undo Hyperlink</a:t>
              </a:r>
            </a:p>
          </p:txBody>
        </p:sp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BC467E62-41AB-1547-BAA0-0497DA492F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01720" y="2121034"/>
              <a:ext cx="155227" cy="155227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B99EEBE7-201D-0E4C-927E-FE3966451069}"/>
                </a:ext>
              </a:extLst>
            </p:cNvPr>
            <p:cNvSpPr txBox="1"/>
            <p:nvPr userDrawn="1"/>
          </p:nvSpPr>
          <p:spPr>
            <a:xfrm>
              <a:off x="9701720" y="2736190"/>
              <a:ext cx="2384904" cy="2492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As soon as the hyperlink formatting appears, Undo once to remove the format.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0A515CD1-7A4D-5943-AF1E-A861CA3992AF}"/>
                </a:ext>
              </a:extLst>
            </p:cNvPr>
            <p:cNvSpPr txBox="1"/>
            <p:nvPr userDrawn="1"/>
          </p:nvSpPr>
          <p:spPr>
            <a:xfrm>
              <a:off x="9694938" y="2378702"/>
              <a:ext cx="2422981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/>
            <a:p>
              <a:pPr marL="0" algn="l" defTabSz="914400" rtl="0" eaLnBrk="1" latinLnBrk="0" hangingPunct="1">
                <a:spcBef>
                  <a:spcPts val="200"/>
                </a:spcBef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yping an email address into the contact info will automatically create a hyperlink.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FE15B6C7-CC3C-9547-B859-96AB175C6BDB}"/>
                </a:ext>
              </a:extLst>
            </p:cNvPr>
            <p:cNvSpPr txBox="1"/>
            <p:nvPr userDrawn="1"/>
          </p:nvSpPr>
          <p:spPr>
            <a:xfrm>
              <a:off x="9830981" y="3018869"/>
              <a:ext cx="2374733" cy="969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>
                  <a:solidFill>
                    <a:schemeClr val="bg1">
                      <a:lumMod val="65000"/>
                    </a:schemeClr>
                  </a:solidFill>
                </a:rPr>
                <a:t>You can use CTRL+Z or the menu button.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0BB739D9-93EF-604B-B664-982F20E91B52}"/>
                </a:ext>
              </a:extLst>
            </p:cNvPr>
            <p:cNvSpPr txBox="1"/>
            <p:nvPr userDrawn="1"/>
          </p:nvSpPr>
          <p:spPr>
            <a:xfrm>
              <a:off x="9701720" y="3193390"/>
              <a:ext cx="2384904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To remove an pre-existing hyperlink, </a:t>
              </a:r>
              <a:b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</a:br>
              <a:r>
                <a:rPr lang="en-US" sz="900" kern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cs typeface="Arial" charset="0"/>
                </a:rPr>
                <a:t>right click on the hyperlink and choose “Remove Link” (                 )</a:t>
              </a:r>
            </a:p>
          </p:txBody>
        </p:sp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E9A7FBA7-E4BB-6D46-9DD5-F4390A8393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4852" t="17138" r="10283" b="11792"/>
            <a:stretch/>
          </p:blipFill>
          <p:spPr>
            <a:xfrm>
              <a:off x="10676602" y="3460165"/>
              <a:ext cx="478277" cy="101726"/>
            </a:xfrm>
            <a:prstGeom prst="rect">
              <a:avLst/>
            </a:prstGeom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6DCE73ED-99FF-1B46-9E34-8D926E9613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11251841" y="4562988"/>
              <a:ext cx="849028" cy="849028"/>
            </a:xfrm>
            <a:prstGeom prst="rect">
              <a:avLst/>
            </a:prstGeom>
          </p:spPr>
        </p:pic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654D58EA-8928-9A46-9612-5FEB15C79CF5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590BEFA3-64F0-8A46-A705-CC6B636E92B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321842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Plain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E32CCA1-CED9-294A-A470-F78E958FA780}"/>
              </a:ext>
            </a:extLst>
          </p:cNvPr>
          <p:cNvGrpSpPr/>
          <p:nvPr userDrawn="1"/>
        </p:nvGrpSpPr>
        <p:grpSpPr>
          <a:xfrm>
            <a:off x="9399182" y="-1"/>
            <a:ext cx="2961715" cy="6858002"/>
            <a:chOff x="9399182" y="-1"/>
            <a:chExt cx="2961715" cy="685800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6D6B989-9284-9D44-BE14-8A6C89EF3E32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16F5F437-7152-D647-BE19-CA5CFF0C6F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AC109CA-765B-F445-89D7-F9A56CF3160E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49BBD5DE-FD33-6944-B905-2592D7F1C5E0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E610496C-239D-1644-8DAD-0730905DFAD3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A8368BC6-66AD-7E4A-919D-4EE710C4C09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7000E6E-6E99-204E-BA7D-E4CA1E9BD536}"/>
                </a:ext>
              </a:extLst>
            </p:cNvPr>
            <p:cNvGrpSpPr/>
            <p:nvPr userDrawn="1"/>
          </p:nvGrpSpPr>
          <p:grpSpPr>
            <a:xfrm>
              <a:off x="9541497" y="2001128"/>
              <a:ext cx="2735151" cy="1739504"/>
              <a:chOff x="9541497" y="2125825"/>
              <a:chExt cx="2735151" cy="1739504"/>
            </a:xfrm>
          </p:grpSpPr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5C7E2DD-B9AA-7542-BB1C-4EDF4B2874A6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A835F353-E20F-7145-A34F-6F386E09121D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40" name="Graphic 39">
                <a:extLst>
                  <a:ext uri="{FF2B5EF4-FFF2-40B4-BE49-F238E27FC236}">
                    <a16:creationId xmlns:a16="http://schemas.microsoft.com/office/drawing/2014/main" id="{ACEEC605-AF63-5242-8C8C-3968205B31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A7DCE96D-FB91-1648-BC3A-ADACF2DFD6A2}"/>
                  </a:ext>
                </a:extLst>
              </p:cNvPr>
              <p:cNvSpPr txBox="1"/>
              <p:nvPr userDrawn="1"/>
            </p:nvSpPr>
            <p:spPr>
              <a:xfrm>
                <a:off x="9701720" y="2880063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2B0A90B8-B226-E44B-94F1-478141C501EF}"/>
                  </a:ext>
                </a:extLst>
              </p:cNvPr>
              <p:cNvSpPr txBox="1"/>
              <p:nvPr userDrawn="1"/>
            </p:nvSpPr>
            <p:spPr>
              <a:xfrm>
                <a:off x="9694938" y="2522575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F319E11B-79DC-9145-9D0C-0A5D3FA1DCA8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969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5A40DD8A-8575-3A45-BCC4-A27FBEB7E728}"/>
                  </a:ext>
                </a:extLst>
              </p:cNvPr>
              <p:cNvSpPr txBox="1"/>
              <p:nvPr userDrawn="1"/>
            </p:nvSpPr>
            <p:spPr>
              <a:xfrm>
                <a:off x="9701720" y="3337263"/>
                <a:ext cx="2384904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 </a:t>
                </a:r>
                <a:b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81F14588-1C54-AC43-BC7C-54BD1667AB5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6BE892A-D470-B745-A06E-4422FF2B46B5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98EF2F6-212E-284F-8D82-E01FF28977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31800" y="2402731"/>
            <a:ext cx="8280400" cy="922907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22CA3D9-DBCD-8543-9EF3-77B6B03F5142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31800" y="3604148"/>
            <a:ext cx="8280400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B32357E-8001-BB4B-B6BD-AEA8426DDEF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29E5FF7-98BC-884F-840D-5E423F4AF849}"/>
              </a:ext>
            </a:extLst>
          </p:cNvPr>
          <p:cNvGrpSpPr/>
          <p:nvPr userDrawn="1"/>
        </p:nvGrpSpPr>
        <p:grpSpPr>
          <a:xfrm>
            <a:off x="-256964" y="2477066"/>
            <a:ext cx="251461" cy="787628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CE00DE3-4AF7-8F42-A200-B6BF002E43AF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662AF22C-7AFC-C247-A004-0952318756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5DC57299-371A-5D49-B7E8-080D3F8E77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4E3FC2-9801-F941-A31F-83FA02AAD46F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A420265-8660-8D47-879D-AE5074C73B4B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E46CEE4-894D-624D-A955-EB76D7DD0E0A}"/>
              </a:ext>
            </a:extLst>
          </p:cNvPr>
          <p:cNvGrpSpPr/>
          <p:nvPr userDrawn="1"/>
        </p:nvGrpSpPr>
        <p:grpSpPr>
          <a:xfrm>
            <a:off x="-256964" y="3622629"/>
            <a:ext cx="251461" cy="1506813"/>
            <a:chOff x="-256404" y="360363"/>
            <a:chExt cx="251461" cy="692152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3D4B207-ECDC-2149-9289-837E9CD2BA4E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C5DB3F20-EFB9-A342-95DF-42A3963D185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9EC292F3-7787-8C42-8363-0B3D8175AC8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32F0246A-EFD3-2048-A326-3DE0B12CA2DE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A0BB0B9-B04C-F344-9EAD-266B7195FA13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6470FD9-6E01-0B4F-9293-5E77836108A7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2E8BA8C-8FF3-254C-8529-17D81E9A3EA9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50F328EC-B503-354C-8736-5D64EE2969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5A29AA69-4035-F742-B4C9-50563DD5BD2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B0AEC935-9C4F-7543-96BF-78796BCB2423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848838DC-C092-C842-8204-37BB10FF8D4C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5AE9D414-9B70-1A40-A283-B9BE3316F27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Straight Connector 53">
                  <a:extLst>
                    <a:ext uri="{FF2B5EF4-FFF2-40B4-BE49-F238E27FC236}">
                      <a16:creationId xmlns:a16="http://schemas.microsoft.com/office/drawing/2014/main" id="{E5D2DCCD-9E6B-4941-B2DD-BCF9A00279B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CFA68C3E-5FA0-2147-8F3D-878AC5BEAC4F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CECDBD12-780D-2643-8288-D1E6A75E0714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62B0D30E-8CF5-E041-A33B-9048CF7AA145}"/>
                  </a:ext>
                </a:extLst>
              </p:cNvPr>
              <p:cNvCxnSpPr>
                <a:cxnSpLocks/>
                <a:stCxn id="50" idx="1"/>
                <a:endCxn id="55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600B5CB1-1C7E-0744-9B21-78D2AC6FD7AD}"/>
                  </a:ext>
                </a:extLst>
              </p:cNvPr>
              <p:cNvCxnSpPr>
                <a:cxnSpLocks/>
                <a:stCxn id="50" idx="3"/>
                <a:endCxn id="55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30438860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Plain, Int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393003"/>
            <a:ext cx="8280400" cy="932635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EC34710-1C9F-5947-B0E6-4240B16E01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24097" y="5966248"/>
            <a:ext cx="2151409" cy="5552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77651239-376F-4149-96FC-21160EE4BDA4}"/>
              </a:ext>
            </a:extLst>
          </p:cNvPr>
          <p:cNvGrpSpPr/>
          <p:nvPr userDrawn="1"/>
        </p:nvGrpSpPr>
        <p:grpSpPr>
          <a:xfrm>
            <a:off x="-256964" y="2477066"/>
            <a:ext cx="251461" cy="787628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FDC3AAE-8083-C045-9C2F-F5399AB5412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30513AF8-FEF3-C44A-9F4F-AD1FF66E82F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8CEA8E20-DDEC-B841-8C60-E187621550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A087970-2162-2046-8746-A371C450CADC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D90C0D8-6B9B-C74A-B73B-C80616B60E69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186D92C-157F-7E4C-9A4A-9488AFA4F0A7}"/>
              </a:ext>
            </a:extLst>
          </p:cNvPr>
          <p:cNvGrpSpPr/>
          <p:nvPr userDrawn="1"/>
        </p:nvGrpSpPr>
        <p:grpSpPr>
          <a:xfrm>
            <a:off x="-256964" y="3622629"/>
            <a:ext cx="251461" cy="1506813"/>
            <a:chOff x="-256404" y="360363"/>
            <a:chExt cx="251461" cy="69215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7E2FD30-BB16-AF4F-AF56-0B6E3A8C03B8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24D293D7-9859-C841-9B8B-8666310CB91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1CA2944-97B1-984C-983E-C4166C79BF7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1839677-726C-2B47-BEFD-17513B8B229B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851E76E-6C66-8B4B-ADA8-7C90E8F627AA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C3458D3-53F7-0E45-8873-C6BA06BC85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3604148"/>
            <a:ext cx="8280400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0B6BF69-0EEF-BC4C-A91B-03BDFC7C92B3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FEE1EEFE-BDB3-A543-98F1-DCDFF9D524E5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6641443C-C572-9C45-BA89-02883243CA8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BAFA3AD9-0800-0945-BFF5-96DAD5F01D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04D642EC-3C16-1744-BAEB-BBE65388C5A0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9526B61A-B175-1F4A-8574-DF91C1E65CE5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584DE61C-1208-C44B-AE72-AA251DCCC6C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A4ABBE2B-285D-8C48-B44B-23D7F037468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0B34404F-69A4-544C-A2F9-C056F24CFC00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BCD5F804-74F2-CA49-8ADB-27B7F888C71C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49" name="Straight Arrow Connector 48">
                <a:extLst>
                  <a:ext uri="{FF2B5EF4-FFF2-40B4-BE49-F238E27FC236}">
                    <a16:creationId xmlns:a16="http://schemas.microsoft.com/office/drawing/2014/main" id="{19156B4A-40D1-9A48-B99F-B19CD25D36EB}"/>
                  </a:ext>
                </a:extLst>
              </p:cNvPr>
              <p:cNvCxnSpPr>
                <a:cxnSpLocks/>
                <a:stCxn id="48" idx="1"/>
                <a:endCxn id="53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5D54EFAB-AD3C-FC43-BFCA-E1F34016DB9F}"/>
                  </a:ext>
                </a:extLst>
              </p:cNvPr>
              <p:cNvCxnSpPr>
                <a:cxnSpLocks/>
                <a:stCxn id="48" idx="3"/>
                <a:endCxn id="53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6F29292-F9A7-FC49-86FB-8EC134A6383C}"/>
              </a:ext>
            </a:extLst>
          </p:cNvPr>
          <p:cNvGrpSpPr/>
          <p:nvPr userDrawn="1"/>
        </p:nvGrpSpPr>
        <p:grpSpPr>
          <a:xfrm>
            <a:off x="9399182" y="-1"/>
            <a:ext cx="2961715" cy="6858002"/>
            <a:chOff x="9399182" y="-1"/>
            <a:chExt cx="2961715" cy="6858002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0E784191-11D3-4D4E-8362-825AEBB8AD8E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FA8C3748-7C03-0B4E-B3FF-CAF4AB6E3C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AB78FBD-B034-C34F-8B34-D0776918BC3B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7A352831-5886-5F4E-84E4-553F400B5518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1E3E24A5-FDC5-6D40-A181-FE78DC155B43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7089C08D-27F2-EA4D-A591-1B564B23F14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4BA23D8-F740-FB4D-9559-C01FD26BE47F}"/>
                </a:ext>
              </a:extLst>
            </p:cNvPr>
            <p:cNvGrpSpPr/>
            <p:nvPr userDrawn="1"/>
          </p:nvGrpSpPr>
          <p:grpSpPr>
            <a:xfrm>
              <a:off x="9541497" y="2001128"/>
              <a:ext cx="2735151" cy="1739504"/>
              <a:chOff x="9541497" y="2125825"/>
              <a:chExt cx="2735151" cy="1739504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FB3ACB90-CF5D-2B4B-8756-646CC22CD6D6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53D91C97-69F8-5E4E-9B49-1565A3502855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EB09DA06-373A-7F4A-8858-5D0CE9C6C0F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552E8C3B-638E-544C-82D3-D7B40228C070}"/>
                  </a:ext>
                </a:extLst>
              </p:cNvPr>
              <p:cNvSpPr txBox="1"/>
              <p:nvPr userDrawn="1"/>
            </p:nvSpPr>
            <p:spPr>
              <a:xfrm>
                <a:off x="9701720" y="2880063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8CE1C63A-594A-4445-B3FC-6764DC0BDABD}"/>
                  </a:ext>
                </a:extLst>
              </p:cNvPr>
              <p:cNvSpPr txBox="1"/>
              <p:nvPr userDrawn="1"/>
            </p:nvSpPr>
            <p:spPr>
              <a:xfrm>
                <a:off x="9694938" y="2522575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12C61A23-7896-B14E-8B22-0695FE395AFC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969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194DB09E-F3CD-DB4D-85FA-90394501DA0F}"/>
                  </a:ext>
                </a:extLst>
              </p:cNvPr>
              <p:cNvSpPr txBox="1"/>
              <p:nvPr userDrawn="1"/>
            </p:nvSpPr>
            <p:spPr>
              <a:xfrm>
                <a:off x="9701720" y="3337263"/>
                <a:ext cx="2384904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 </a:t>
                </a:r>
                <a:b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30CA1E45-C57A-4340-B73D-8AC99F31665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F5460527-35E4-EE43-B313-C4A78A64A05A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2A81776-5FDE-E748-88EA-1670E94274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45487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(Plain,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51CCCAA-D40E-B44E-A126-920CC95387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402731"/>
            <a:ext cx="8280400" cy="922907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thank-you messag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3BFD17EA-819F-DD45-8311-F838F6249E1A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8EC34710-1C9F-5947-B0E6-4240B16E01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724098" y="5966248"/>
            <a:ext cx="2151407" cy="55520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0C1838D0-087C-C84C-BD20-8662027BCFD8}"/>
              </a:ext>
            </a:extLst>
          </p:cNvPr>
          <p:cNvGrpSpPr/>
          <p:nvPr userDrawn="1"/>
        </p:nvGrpSpPr>
        <p:grpSpPr>
          <a:xfrm>
            <a:off x="-256964" y="2477066"/>
            <a:ext cx="251461" cy="787628"/>
            <a:chOff x="-256404" y="360363"/>
            <a:chExt cx="251461" cy="69215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9F63503-981B-C241-AA66-C5F4235499ED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9426E31B-0302-7C41-9536-CDFE2167773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EE6A6390-C8A9-C34D-9106-B3D35D21DB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0FA3F01B-9379-334E-A217-91E4E7840B0A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72FC0E1-17BD-D74D-8B57-B0DE86A24E8D}"/>
                </a:ext>
              </a:extLst>
            </p:cNvPr>
            <p:cNvSpPr txBox="1"/>
            <p:nvPr userDrawn="1"/>
          </p:nvSpPr>
          <p:spPr>
            <a:xfrm rot="16200000">
              <a:off x="-338725" y="595340"/>
              <a:ext cx="416114" cy="215444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HANK YOU</a:t>
              </a:r>
              <a:b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MESSAG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6679DDA-6F88-6A48-B266-850A75491A83}"/>
              </a:ext>
            </a:extLst>
          </p:cNvPr>
          <p:cNvGrpSpPr/>
          <p:nvPr userDrawn="1"/>
        </p:nvGrpSpPr>
        <p:grpSpPr>
          <a:xfrm>
            <a:off x="-256964" y="3622629"/>
            <a:ext cx="251461" cy="1506813"/>
            <a:chOff x="-256404" y="360363"/>
            <a:chExt cx="251461" cy="692152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F645CF7-7BD0-B04F-86BA-E40A933FF6B5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686C0C3F-F9AB-5D4F-B6F9-E49DAEB7B2B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E8F3CF3D-2A02-CA4C-BAE5-30716FE5112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6BBBD618-8C93-5144-A9F2-14FA66324671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B4CB1C9-A8C8-8C4C-9D8F-D9EBB7ADC67E}"/>
                </a:ext>
              </a:extLst>
            </p:cNvPr>
            <p:cNvSpPr txBox="1"/>
            <p:nvPr userDrawn="1"/>
          </p:nvSpPr>
          <p:spPr>
            <a:xfrm rot="16200000">
              <a:off x="-300948" y="649201"/>
              <a:ext cx="340562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CONTACT INFO</a:t>
              </a:r>
            </a:p>
          </p:txBody>
        </p:sp>
      </p:grp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34B9718-6380-F245-B99D-BC20E3A8B5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3604148"/>
            <a:ext cx="8280400" cy="15430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noAutofit/>
          </a:bodyPr>
          <a:lstStyle>
            <a:lvl1pPr marL="20638" indent="0">
              <a:spcAft>
                <a:spcPts val="300"/>
              </a:spcAft>
              <a:buNone/>
              <a:tabLst/>
              <a:defRPr sz="1400" b="1">
                <a:solidFill>
                  <a:schemeClr val="accent1"/>
                </a:solidFill>
              </a:defRPr>
            </a:lvl1pPr>
            <a:lvl2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2pPr>
            <a:lvl3pPr marL="20638" indent="0">
              <a:spcAft>
                <a:spcPts val="200"/>
              </a:spcAft>
              <a:buFont typeface="Wingdings" pitchFamily="2" charset="2"/>
              <a:buNone/>
              <a:tabLst/>
              <a:defRPr sz="1400">
                <a:solidFill>
                  <a:schemeClr val="tx1"/>
                </a:solidFill>
              </a:defRPr>
            </a:lvl3pPr>
            <a:lvl4pPr marL="20638" indent="0">
              <a:spcAft>
                <a:spcPts val="200"/>
              </a:spcAft>
              <a:buFont typeface="System Font Regular"/>
              <a:buNone/>
              <a:tabLst/>
              <a:defRPr sz="1400">
                <a:solidFill>
                  <a:schemeClr val="tx1"/>
                </a:solidFill>
              </a:defRPr>
            </a:lvl4pPr>
            <a:lvl5pPr marL="20638" indent="0">
              <a:spcAft>
                <a:spcPts val="200"/>
              </a:spcAft>
              <a:buNone/>
              <a:tabLst/>
              <a:defRPr sz="1400">
                <a:solidFill>
                  <a:schemeClr val="tx1"/>
                </a:solidFill>
              </a:defRPr>
            </a:lvl5pPr>
            <a:lvl6pPr marL="20638" indent="0">
              <a:buNone/>
              <a:tabLst/>
              <a:defRPr/>
            </a:lvl6pPr>
            <a:lvl7pPr marL="20638" indent="0">
              <a:buNone/>
              <a:tabLst/>
              <a:defRPr/>
            </a:lvl7pPr>
            <a:lvl8pPr marL="20638" indent="0">
              <a:buNone/>
              <a:tabLst/>
              <a:defRPr/>
            </a:lvl8pPr>
            <a:lvl9pPr marL="20638" indent="0">
              <a:buNone/>
              <a:tabLst/>
              <a:defRPr/>
            </a:lvl9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8AD61A7-E23A-1F49-AAEB-30A8DD651FCB}"/>
              </a:ext>
            </a:extLst>
          </p:cNvPr>
          <p:cNvGrpSpPr/>
          <p:nvPr userDrawn="1"/>
        </p:nvGrpSpPr>
        <p:grpSpPr>
          <a:xfrm>
            <a:off x="431240" y="-246933"/>
            <a:ext cx="8280401" cy="7347304"/>
            <a:chOff x="431240" y="-246933"/>
            <a:chExt cx="8280401" cy="7347304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C46D37E-ED5C-DC41-9697-2DA5AF3897B9}"/>
                </a:ext>
              </a:extLst>
            </p:cNvPr>
            <p:cNvGrpSpPr/>
            <p:nvPr userDrawn="1"/>
          </p:nvGrpSpPr>
          <p:grpSpPr>
            <a:xfrm>
              <a:off x="431242" y="6864579"/>
              <a:ext cx="8280398" cy="235792"/>
              <a:chOff x="431801" y="-235792"/>
              <a:chExt cx="4400550" cy="235792"/>
            </a:xfrm>
          </p:grpSpPr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70A33EDA-B4A8-0B4E-A842-B2C1DC673D7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468E3C4C-8265-5D47-8903-B814EC1B2DD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01DC5A2-785F-ED4D-9388-D43323B87370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235792"/>
              <a:chOff x="431800" y="-240735"/>
              <a:chExt cx="8280401" cy="235792"/>
            </a:xfrm>
          </p:grpSpPr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31007021-C162-9C43-823F-4F582A7C05AB}"/>
                  </a:ext>
                </a:extLst>
              </p:cNvPr>
              <p:cNvGrpSpPr/>
              <p:nvPr userDrawn="1"/>
            </p:nvGrpSpPr>
            <p:grpSpPr>
              <a:xfrm>
                <a:off x="431800" y="-240735"/>
                <a:ext cx="8280400" cy="235792"/>
                <a:chOff x="431800" y="-235792"/>
                <a:chExt cx="4400551" cy="235792"/>
              </a:xfrm>
            </p:grpSpPr>
            <p:cxnSp>
              <p:nvCxnSpPr>
                <p:cNvPr id="51" name="Straight Connector 50">
                  <a:extLst>
                    <a:ext uri="{FF2B5EF4-FFF2-40B4-BE49-F238E27FC236}">
                      <a16:creationId xmlns:a16="http://schemas.microsoft.com/office/drawing/2014/main" id="{5E98A604-56B2-9345-ACCF-AF38353ED425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AA6AF58A-87FD-804F-AA49-6AD574A07FE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86F36FDF-5B20-8E4C-85DF-714AB19EA435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5A09468-1709-984C-8EC1-C1F9FFADE57C}"/>
                  </a:ext>
                </a:extLst>
              </p:cNvPr>
              <p:cNvSpPr txBox="1"/>
              <p:nvPr userDrawn="1"/>
            </p:nvSpPr>
            <p:spPr>
              <a:xfrm>
                <a:off x="3695114" y="-17670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49" name="Straight Arrow Connector 48">
                <a:extLst>
                  <a:ext uri="{FF2B5EF4-FFF2-40B4-BE49-F238E27FC236}">
                    <a16:creationId xmlns:a16="http://schemas.microsoft.com/office/drawing/2014/main" id="{CDE2C67D-8BD6-DC41-AF20-7FAA9675C716}"/>
                  </a:ext>
                </a:extLst>
              </p:cNvPr>
              <p:cNvCxnSpPr>
                <a:cxnSpLocks/>
                <a:stCxn id="48" idx="1"/>
                <a:endCxn id="53" idx="2"/>
              </p:cNvCxnSpPr>
              <p:nvPr userDrawn="1"/>
            </p:nvCxnSpPr>
            <p:spPr>
              <a:xfrm flipH="1">
                <a:off x="431801" y="-122839"/>
                <a:ext cx="3263313" cy="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FE530C30-B79E-8F43-940C-FCF8970BE6EB}"/>
                  </a:ext>
                </a:extLst>
              </p:cNvPr>
              <p:cNvCxnSpPr>
                <a:cxnSpLocks/>
                <a:stCxn id="48" idx="3"/>
                <a:endCxn id="53" idx="0"/>
              </p:cNvCxnSpPr>
              <p:nvPr userDrawn="1"/>
            </p:nvCxnSpPr>
            <p:spPr>
              <a:xfrm flipV="1">
                <a:off x="5448900" y="-122840"/>
                <a:ext cx="3263301" cy="1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F96F018-A664-B540-B004-D45CCFE76A75}"/>
              </a:ext>
            </a:extLst>
          </p:cNvPr>
          <p:cNvGrpSpPr/>
          <p:nvPr userDrawn="1"/>
        </p:nvGrpSpPr>
        <p:grpSpPr>
          <a:xfrm>
            <a:off x="9399182" y="-1"/>
            <a:ext cx="2961715" cy="6858002"/>
            <a:chOff x="9399182" y="-1"/>
            <a:chExt cx="2961715" cy="6858002"/>
          </a:xfrm>
        </p:grpSpPr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D987FAF-CC7B-0640-8722-7EE6471E6901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68580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26FE57B3-F850-1E48-B661-0B3DB802A6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44907"/>
            <a:stretch/>
          </p:blipFill>
          <p:spPr>
            <a:xfrm>
              <a:off x="9558505" y="1326787"/>
              <a:ext cx="2639326" cy="517021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7F2EFCC-B85A-7243-AD55-5815FF040AB8}"/>
                </a:ext>
              </a:extLst>
            </p:cNvPr>
            <p:cNvGrpSpPr/>
            <p:nvPr userDrawn="1"/>
          </p:nvGrpSpPr>
          <p:grpSpPr>
            <a:xfrm>
              <a:off x="9541497" y="162442"/>
              <a:ext cx="2819400" cy="814510"/>
              <a:chOff x="-3644733" y="165205"/>
              <a:chExt cx="2819400" cy="814510"/>
            </a:xfrm>
          </p:grpSpPr>
          <p:sp>
            <p:nvSpPr>
              <p:cNvPr id="72" name="Rectangle 71">
                <a:extLst>
                  <a:ext uri="{FF2B5EF4-FFF2-40B4-BE49-F238E27FC236}">
                    <a16:creationId xmlns:a16="http://schemas.microsoft.com/office/drawing/2014/main" id="{ED713B88-98F1-FF49-9219-D32C4B2740D3}"/>
                  </a:ext>
                </a:extLst>
              </p:cNvPr>
              <p:cNvSpPr/>
              <p:nvPr userDrawn="1"/>
            </p:nvSpPr>
            <p:spPr>
              <a:xfrm>
                <a:off x="-3644733" y="165205"/>
                <a:ext cx="2819400" cy="81451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EF3E53F2-95E7-9F47-A4FD-AD7DB6BC66E4}"/>
                  </a:ext>
                </a:extLst>
              </p:cNvPr>
              <p:cNvSpPr txBox="1"/>
              <p:nvPr userDrawn="1"/>
            </p:nvSpPr>
            <p:spPr>
              <a:xfrm>
                <a:off x="-3039170" y="309204"/>
                <a:ext cx="2129588" cy="507831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Access programmed text formats by using the ‘Indent More’ button to change the indent level.</a:t>
                </a:r>
              </a:p>
            </p:txBody>
          </p: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90F9AF66-5251-5142-AB15-99308824914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l="8882" t="5165" r="-1"/>
              <a:stretch/>
            </p:blipFill>
            <p:spPr>
              <a:xfrm>
                <a:off x="-3491292" y="414013"/>
                <a:ext cx="324017" cy="289055"/>
              </a:xfrm>
              <a:prstGeom prst="roundRect">
                <a:avLst/>
              </a:prstGeom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C7F6F6A6-5B3F-5E4D-AA2D-D18E32AF2B33}"/>
                </a:ext>
              </a:extLst>
            </p:cNvPr>
            <p:cNvGrpSpPr/>
            <p:nvPr userDrawn="1"/>
          </p:nvGrpSpPr>
          <p:grpSpPr>
            <a:xfrm>
              <a:off x="9541497" y="2001128"/>
              <a:ext cx="2735151" cy="1739504"/>
              <a:chOff x="9541497" y="2125825"/>
              <a:chExt cx="2735151" cy="1739504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10E3E0B5-442E-D342-B713-2C7D475F1ABD}"/>
                  </a:ext>
                </a:extLst>
              </p:cNvPr>
              <p:cNvSpPr/>
              <p:nvPr userDrawn="1"/>
            </p:nvSpPr>
            <p:spPr>
              <a:xfrm>
                <a:off x="9541497" y="2125825"/>
                <a:ext cx="2735151" cy="173950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30B9E3F6-CBF5-F54B-8469-B59DF5B1B45F}"/>
                  </a:ext>
                </a:extLst>
              </p:cNvPr>
              <p:cNvSpPr txBox="1"/>
              <p:nvPr userDrawn="1"/>
            </p:nvSpPr>
            <p:spPr>
              <a:xfrm>
                <a:off x="9907688" y="2254624"/>
                <a:ext cx="2368960" cy="16927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algn="l"/>
                <a:r>
                  <a:rPr lang="en-US" sz="11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P: Undo Hyperlink</a:t>
                </a:r>
              </a:p>
            </p:txBody>
          </p:sp>
          <p:pic>
            <p:nvPicPr>
              <p:cNvPr id="66" name="Graphic 65">
                <a:extLst>
                  <a:ext uri="{FF2B5EF4-FFF2-40B4-BE49-F238E27FC236}">
                    <a16:creationId xmlns:a16="http://schemas.microsoft.com/office/drawing/2014/main" id="{9258BA04-2516-F041-AC6E-418C990D96D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701720" y="2264907"/>
                <a:ext cx="155227" cy="155227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B74EED98-2E62-DD49-A384-EA4382C505E1}"/>
                  </a:ext>
                </a:extLst>
              </p:cNvPr>
              <p:cNvSpPr txBox="1"/>
              <p:nvPr userDrawn="1"/>
            </p:nvSpPr>
            <p:spPr>
              <a:xfrm>
                <a:off x="9701720" y="2880063"/>
                <a:ext cx="2384904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As soon as the hyperlink formatting appears, Undo once to remove the format.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F384A55C-D7CF-FF48-B0FF-2456C82E6EBE}"/>
                  </a:ext>
                </a:extLst>
              </p:cNvPr>
              <p:cNvSpPr txBox="1"/>
              <p:nvPr userDrawn="1"/>
            </p:nvSpPr>
            <p:spPr>
              <a:xfrm>
                <a:off x="9694938" y="2522575"/>
                <a:ext cx="2422981" cy="2769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0" algn="l" defTabSz="914400" rtl="0" eaLnBrk="1" latinLnBrk="0" hangingPunct="1">
                  <a:spcBef>
                    <a:spcPts val="200"/>
                  </a:spcBef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ea typeface="Arial" charset="0"/>
                    <a:cs typeface="Arial" charset="0"/>
                  </a:rPr>
                  <a:t>Typing an email address into the contact info will automatically create a hyperlink.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E2302EA8-8733-DD40-AAB2-9F1D1EF06B7C}"/>
                  </a:ext>
                </a:extLst>
              </p:cNvPr>
              <p:cNvSpPr txBox="1"/>
              <p:nvPr userDrawn="1"/>
            </p:nvSpPr>
            <p:spPr>
              <a:xfrm>
                <a:off x="9830981" y="3162742"/>
                <a:ext cx="2374733" cy="969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>
                    <a:solidFill>
                      <a:schemeClr val="bg1">
                        <a:lumMod val="65000"/>
                      </a:schemeClr>
                    </a:solidFill>
                  </a:rPr>
                  <a:t>You can use CTRL+Z or the menu button.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636FE2CE-37D5-BF40-B558-5246FB50D8FF}"/>
                  </a:ext>
                </a:extLst>
              </p:cNvPr>
              <p:cNvSpPr txBox="1"/>
              <p:nvPr userDrawn="1"/>
            </p:nvSpPr>
            <p:spPr>
              <a:xfrm>
                <a:off x="9701720" y="3337263"/>
                <a:ext cx="2384904" cy="3739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To remove an pre-existing hyperlink, </a:t>
                </a:r>
                <a:b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</a:br>
                <a:r>
                  <a:rPr lang="en-US" sz="900" kern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 charset="0"/>
                    <a:cs typeface="Arial" charset="0"/>
                  </a:rPr>
                  <a:t>right click on the hyperlink and choose “Remove Link” (                 )</a:t>
                </a:r>
              </a:p>
            </p:txBody>
          </p:sp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5BABAB4D-B3D4-6846-98D9-70059E3456A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/>
              <a:srcRect l="4852" t="17138" r="10283" b="11792"/>
              <a:stretch/>
            </p:blipFill>
            <p:spPr>
              <a:xfrm>
                <a:off x="10676602" y="3604038"/>
                <a:ext cx="478277" cy="101726"/>
              </a:xfrm>
              <a:prstGeom prst="rect">
                <a:avLst/>
              </a:prstGeom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</p:pic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94956E66-A974-8749-AE46-D644207B685E}"/>
                </a:ext>
              </a:extLst>
            </p:cNvPr>
            <p:cNvSpPr txBox="1"/>
            <p:nvPr userDrawn="1"/>
          </p:nvSpPr>
          <p:spPr>
            <a:xfrm>
              <a:off x="9558507" y="1119891"/>
              <a:ext cx="2236190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TEXT FORMATS IN THIS LAYOUT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58A9D8A-09FA-EB45-86D2-0B16C31ED9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1322508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9292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Plain, T.S.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7FB454B8-622E-D643-B38F-8FBBFCD62ABD}"/>
              </a:ext>
            </a:extLst>
          </p:cNvPr>
          <p:cNvSpPr/>
          <p:nvPr userDrawn="1"/>
        </p:nvSpPr>
        <p:spPr>
          <a:xfrm flipH="1">
            <a:off x="1867" y="2171627"/>
            <a:ext cx="8780681" cy="1815552"/>
          </a:xfrm>
          <a:custGeom>
            <a:avLst/>
            <a:gdLst>
              <a:gd name="connsiteX0" fmla="*/ 8780681 w 8780681"/>
              <a:gd name="connsiteY0" fmla="*/ 0 h 1815552"/>
              <a:gd name="connsiteX1" fmla="*/ 861570 w 8780681"/>
              <a:gd name="connsiteY1" fmla="*/ 0 h 1815552"/>
              <a:gd name="connsiteX2" fmla="*/ 0 w 8780681"/>
              <a:gd name="connsiteY2" fmla="*/ 1815552 h 1815552"/>
              <a:gd name="connsiteX3" fmla="*/ 8780681 w 8780681"/>
              <a:gd name="connsiteY3" fmla="*/ 1815552 h 181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80681" h="1815552">
                <a:moveTo>
                  <a:pt x="8780681" y="0"/>
                </a:moveTo>
                <a:lnTo>
                  <a:pt x="861570" y="0"/>
                </a:lnTo>
                <a:lnTo>
                  <a:pt x="0" y="1815552"/>
                </a:lnTo>
                <a:lnTo>
                  <a:pt x="8780681" y="181555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A7DAA80D-E5FC-834A-808A-ED4B4782F280}"/>
              </a:ext>
            </a:extLst>
          </p:cNvPr>
          <p:cNvSpPr/>
          <p:nvPr userDrawn="1"/>
        </p:nvSpPr>
        <p:spPr>
          <a:xfrm flipH="1">
            <a:off x="0" y="6029561"/>
            <a:ext cx="6781322" cy="427439"/>
          </a:xfrm>
          <a:custGeom>
            <a:avLst/>
            <a:gdLst>
              <a:gd name="connsiteX0" fmla="*/ 6781322 w 6781322"/>
              <a:gd name="connsiteY0" fmla="*/ 0 h 427439"/>
              <a:gd name="connsiteX1" fmla="*/ 6376846 w 6781322"/>
              <a:gd name="connsiteY1" fmla="*/ 0 h 427439"/>
              <a:gd name="connsiteX2" fmla="*/ 607317 w 6781322"/>
              <a:gd name="connsiteY2" fmla="*/ 0 h 427439"/>
              <a:gd name="connsiteX3" fmla="*/ 202841 w 6781322"/>
              <a:gd name="connsiteY3" fmla="*/ 0 h 427439"/>
              <a:gd name="connsiteX4" fmla="*/ 0 w 6781322"/>
              <a:gd name="connsiteY4" fmla="*/ 427439 h 427439"/>
              <a:gd name="connsiteX5" fmla="*/ 404476 w 6781322"/>
              <a:gd name="connsiteY5" fmla="*/ 427439 h 427439"/>
              <a:gd name="connsiteX6" fmla="*/ 6376846 w 6781322"/>
              <a:gd name="connsiteY6" fmla="*/ 427439 h 427439"/>
              <a:gd name="connsiteX7" fmla="*/ 6781322 w 6781322"/>
              <a:gd name="connsiteY7" fmla="*/ 427439 h 427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81322" h="427439">
                <a:moveTo>
                  <a:pt x="6781322" y="0"/>
                </a:moveTo>
                <a:lnTo>
                  <a:pt x="6376846" y="0"/>
                </a:lnTo>
                <a:lnTo>
                  <a:pt x="607317" y="0"/>
                </a:lnTo>
                <a:lnTo>
                  <a:pt x="202841" y="0"/>
                </a:lnTo>
                <a:lnTo>
                  <a:pt x="0" y="427439"/>
                </a:lnTo>
                <a:lnTo>
                  <a:pt x="404476" y="427439"/>
                </a:lnTo>
                <a:lnTo>
                  <a:pt x="6376846" y="427439"/>
                </a:lnTo>
                <a:lnTo>
                  <a:pt x="6781322" y="4274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428846E-90EC-CF46-BA3C-6E7E7F9A65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2357718"/>
            <a:ext cx="7495477" cy="1443370"/>
          </a:xfrm>
        </p:spPr>
        <p:txBody>
          <a:bodyPr anchor="ctr"/>
          <a:lstStyle>
            <a:lvl1pPr>
              <a:defRPr sz="3600"/>
            </a:lvl1pPr>
          </a:lstStyle>
          <a:p>
            <a:pPr lvl="0"/>
            <a:r>
              <a:rPr lang="en-US" dirty="0"/>
              <a:t>CLICK TO EDIT PRESENTATION TITLE. ALL CAPS. TWO LINES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AC42CDE-EBE7-E741-BE32-30653614DF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724098" y="5966248"/>
            <a:ext cx="2151407" cy="55520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95C24E01-FC3B-404D-9E78-A1D4842E648D}"/>
              </a:ext>
            </a:extLst>
          </p:cNvPr>
          <p:cNvGrpSpPr/>
          <p:nvPr userDrawn="1"/>
        </p:nvGrpSpPr>
        <p:grpSpPr>
          <a:xfrm>
            <a:off x="-256964" y="2662813"/>
            <a:ext cx="251461" cy="803868"/>
            <a:chOff x="-256404" y="360363"/>
            <a:chExt cx="251461" cy="69215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609AD49-9F46-6B4D-AC61-D86E1F7D6DE3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AB26C9CC-8E39-D842-9EAF-678E2CFCEA4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572409FD-BEDA-7448-ADF2-61BA93E7861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09BC28A-A542-FE4D-93B0-F0347A65EE97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59ED004-19ED-DE4A-9DA7-48843A04A76A}"/>
                </a:ext>
              </a:extLst>
            </p:cNvPr>
            <p:cNvSpPr txBox="1"/>
            <p:nvPr userDrawn="1"/>
          </p:nvSpPr>
          <p:spPr>
            <a:xfrm rot="16200000">
              <a:off x="-252501" y="649201"/>
              <a:ext cx="243656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TITL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E78AD02-75ED-A243-A1D9-E6F34937F533}"/>
              </a:ext>
            </a:extLst>
          </p:cNvPr>
          <p:cNvGrpSpPr/>
          <p:nvPr userDrawn="1"/>
        </p:nvGrpSpPr>
        <p:grpSpPr>
          <a:xfrm>
            <a:off x="-256964" y="6029561"/>
            <a:ext cx="251461" cy="414972"/>
            <a:chOff x="-256404" y="360363"/>
            <a:chExt cx="251461" cy="692152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5C734E6-12AC-D549-85C3-5CA9349575FD}"/>
                </a:ext>
              </a:extLst>
            </p:cNvPr>
            <p:cNvGrpSpPr/>
            <p:nvPr userDrawn="1"/>
          </p:nvGrpSpPr>
          <p:grpSpPr>
            <a:xfrm rot="16200000">
              <a:off x="-476749" y="580708"/>
              <a:ext cx="692152" cy="251461"/>
              <a:chOff x="431800" y="-235792"/>
              <a:chExt cx="4400551" cy="235792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FBB2CEB4-7001-4143-8842-8DD015ADA2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C52DBC83-F997-CC43-8A77-AB3F51D3F8A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DD5C9623-B665-514A-A1F5-4742B67F7AE1}"/>
                  </a:ext>
                </a:extLst>
              </p:cNvPr>
              <p:cNvSpPr/>
              <p:nvPr userDrawn="1"/>
            </p:nvSpPr>
            <p:spPr>
              <a:xfrm rot="5400000">
                <a:off x="2514180" y="-2318172"/>
                <a:ext cx="235791" cy="4400551"/>
              </a:xfrm>
              <a:prstGeom prst="rect">
                <a:avLst/>
              </a:prstGeom>
              <a:solidFill>
                <a:schemeClr val="accent2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05C7E24-6E4B-6844-9522-6D184F784EA2}"/>
                </a:ext>
              </a:extLst>
            </p:cNvPr>
            <p:cNvSpPr txBox="1"/>
            <p:nvPr userDrawn="1"/>
          </p:nvSpPr>
          <p:spPr>
            <a:xfrm rot="16200000">
              <a:off x="-328529" y="649200"/>
              <a:ext cx="395711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ctr"/>
              <a:r>
                <a:rPr lang="en-US" sz="700" dirty="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rPr>
                <a:t>DATE</a:t>
              </a:r>
            </a:p>
          </p:txBody>
        </p:sp>
      </p:grp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A8BE2D3-AB7B-1A4A-8A3E-0485C1C367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0851" y="6061208"/>
            <a:ext cx="3313429" cy="364145"/>
          </a:xfrm>
        </p:spPr>
        <p:txBody>
          <a:bodyPr anchor="ctr"/>
          <a:lstStyle>
            <a:lvl1pPr marL="9525" indent="0">
              <a:buFontTx/>
              <a:buNone/>
              <a:tabLst/>
              <a:defRPr sz="1400" b="0">
                <a:solidFill>
                  <a:schemeClr val="bg1"/>
                </a:solidFill>
              </a:defRPr>
            </a:lvl1pPr>
            <a:lvl2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2pPr>
            <a:lvl3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3pPr>
            <a:lvl4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4pPr>
            <a:lvl5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5pPr>
            <a:lvl6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6pPr>
            <a:lvl7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7pPr>
            <a:lvl8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8pPr>
            <a:lvl9pPr marL="9525" indent="0">
              <a:buFontTx/>
              <a:buNone/>
              <a:tabLst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 (Month DD, YYYY)</a:t>
            </a:r>
          </a:p>
        </p:txBody>
      </p:sp>
    </p:spTree>
    <p:extLst>
      <p:ext uri="{BB962C8B-B14F-4D97-AF65-F5344CB8AC3E}">
        <p14:creationId xmlns:p14="http://schemas.microsoft.com/office/powerpoint/2010/main" val="11682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Agenda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F4D58A-AA20-5048-8BA0-DD35FBF502B9}"/>
              </a:ext>
            </a:extLst>
          </p:cNvPr>
          <p:cNvSpPr/>
          <p:nvPr userDrawn="1"/>
        </p:nvSpPr>
        <p:spPr>
          <a:xfrm>
            <a:off x="0" y="614023"/>
            <a:ext cx="9144000" cy="6192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E73969A-3A18-3447-B258-F387FB6CF9F1}"/>
              </a:ext>
            </a:extLst>
          </p:cNvPr>
          <p:cNvGrpSpPr/>
          <p:nvPr userDrawn="1"/>
        </p:nvGrpSpPr>
        <p:grpSpPr>
          <a:xfrm>
            <a:off x="9399182" y="-1"/>
            <a:ext cx="2877466" cy="8631622"/>
            <a:chOff x="9399182" y="-1"/>
            <a:chExt cx="2877466" cy="8631622"/>
          </a:xfrm>
        </p:grpSpPr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92729CBC-BDE5-8E45-A6BE-AE71C1B381A0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49630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F671A5E8-36A2-FB45-ADCA-9DAD0E120E46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161035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E301719B-2C9D-8E44-AE65-E00544489754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CED24EBF-9DBE-B34E-81D8-A373E4BBB1F9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1139035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A46F68BB-A3E6-B246-94E8-AF74AACEF49A}"/>
                </a:ext>
              </a:extLst>
            </p:cNvPr>
            <p:cNvSpPr txBox="1"/>
            <p:nvPr userDrawn="1"/>
          </p:nvSpPr>
          <p:spPr>
            <a:xfrm>
              <a:off x="9686426" y="513115"/>
              <a:ext cx="2425134" cy="4847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spcAft>
                  <a:spcPts val="0"/>
                </a:spcAft>
              </a:pPr>
              <a:r>
                <a:rPr lang="en-US" dirty="0"/>
                <a:t>Enter up to 8 agenda items and their page numbers. </a:t>
              </a:r>
            </a:p>
            <a:p>
              <a:pPr lvl="2"/>
              <a:r>
                <a:rPr lang="en-US" dirty="0"/>
                <a:t>Switch to the 14-item agenda if you need more. </a:t>
              </a: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FBB8C002-902E-6D47-BE1D-BF8509A004AD}"/>
                </a:ext>
              </a:extLst>
            </p:cNvPr>
            <p:cNvSpPr txBox="1"/>
            <p:nvPr userDrawn="1"/>
          </p:nvSpPr>
          <p:spPr>
            <a:xfrm>
              <a:off x="9558507" y="150290"/>
              <a:ext cx="186749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USE THE AGENDA</a:t>
              </a:r>
            </a:p>
          </p:txBody>
        </p: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FE4B0B2B-3980-FB4D-8093-0BAB12D53E5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52907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D9DE41DC-3B7A-854E-AC16-134271A7396F}"/>
                </a:ext>
              </a:extLst>
            </p:cNvPr>
            <p:cNvGrpSpPr/>
            <p:nvPr userDrawn="1"/>
          </p:nvGrpSpPr>
          <p:grpSpPr>
            <a:xfrm>
              <a:off x="9541497" y="5505499"/>
              <a:ext cx="2735151" cy="919215"/>
              <a:chOff x="9296567" y="4150379"/>
              <a:chExt cx="2735151" cy="919215"/>
            </a:xfrm>
          </p:grpSpPr>
          <p:grpSp>
            <p:nvGrpSpPr>
              <p:cNvPr id="226" name="Group 225">
                <a:extLst>
                  <a:ext uri="{FF2B5EF4-FFF2-40B4-BE49-F238E27FC236}">
                    <a16:creationId xmlns:a16="http://schemas.microsoft.com/office/drawing/2014/main" id="{4A8E7230-F371-9049-8785-A042CADC0F97}"/>
                  </a:ext>
                </a:extLst>
              </p:cNvPr>
              <p:cNvGrpSpPr/>
              <p:nvPr userDrawn="1"/>
            </p:nvGrpSpPr>
            <p:grpSpPr>
              <a:xfrm>
                <a:off x="9296567" y="4150379"/>
                <a:ext cx="2735151" cy="919215"/>
                <a:chOff x="9296567" y="5817858"/>
                <a:chExt cx="2735151" cy="919215"/>
              </a:xfrm>
            </p:grpSpPr>
            <p:sp>
              <p:nvSpPr>
                <p:cNvPr id="228" name="Rectangle 227">
                  <a:extLst>
                    <a:ext uri="{FF2B5EF4-FFF2-40B4-BE49-F238E27FC236}">
                      <a16:creationId xmlns:a16="http://schemas.microsoft.com/office/drawing/2014/main" id="{4E2ECAE9-6825-6344-A33D-8F33A0FBEBA3}"/>
                    </a:ext>
                  </a:extLst>
                </p:cNvPr>
                <p:cNvSpPr/>
                <p:nvPr userDrawn="1"/>
              </p:nvSpPr>
              <p:spPr>
                <a:xfrm>
                  <a:off x="9296567" y="5817858"/>
                  <a:ext cx="2733136" cy="9192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9" name="TextBox 228">
                  <a:extLst>
                    <a:ext uri="{FF2B5EF4-FFF2-40B4-BE49-F238E27FC236}">
                      <a16:creationId xmlns:a16="http://schemas.microsoft.com/office/drawing/2014/main" id="{A8170A63-20B8-C340-A8F1-D6D360C94661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936094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Reset Placeholders</a:t>
                  </a:r>
                </a:p>
              </p:txBody>
            </p:sp>
            <p:pic>
              <p:nvPicPr>
                <p:cNvPr id="230" name="Graphic 229">
                  <a:extLst>
                    <a:ext uri="{FF2B5EF4-FFF2-40B4-BE49-F238E27FC236}">
                      <a16:creationId xmlns:a16="http://schemas.microsoft.com/office/drawing/2014/main" id="{23CD0419-FDFB-0249-BAA8-77ADB9197DF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946377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231" name="TextBox 230">
                  <a:extLst>
                    <a:ext uri="{FF2B5EF4-FFF2-40B4-BE49-F238E27FC236}">
                      <a16:creationId xmlns:a16="http://schemas.microsoft.com/office/drawing/2014/main" id="{2A9D487E-DB19-7741-BCD6-CC6ADA5A5D0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169594"/>
                  <a:ext cx="2491595" cy="44114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>
                    <a:spcBef>
                      <a:spcPts val="200"/>
                    </a:spcBef>
                  </a:pPr>
                  <a:r>
                    <a:rPr lang="en-US" sz="9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Press the Reset (            ) button to bring back placeholders you have deleted if you need them. </a:t>
                  </a:r>
                </a:p>
                <a:p>
                  <a:pPr algn="l">
                    <a:spcBef>
                      <a:spcPts val="200"/>
                    </a:spcBef>
                  </a:pPr>
                  <a:r>
                    <a:rPr lang="en-US" sz="9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Note: this will also remove your item highlight.</a:t>
                  </a:r>
                </a:p>
              </p:txBody>
            </p:sp>
          </p:grpSp>
          <p:pic>
            <p:nvPicPr>
              <p:cNvPr id="227" name="Picture 226">
                <a:extLst>
                  <a:ext uri="{FF2B5EF4-FFF2-40B4-BE49-F238E27FC236}">
                    <a16:creationId xmlns:a16="http://schemas.microsoft.com/office/drawing/2014/main" id="{F3FDF710-03B9-F349-9989-8CC152E1DAF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t="-7688" r="11531" b="-1"/>
              <a:stretch/>
            </p:blipFill>
            <p:spPr>
              <a:xfrm>
                <a:off x="10368085" y="4507363"/>
                <a:ext cx="346954" cy="130863"/>
              </a:xfrm>
              <a:prstGeom prst="rect">
                <a:avLst/>
              </a:prstGeom>
            </p:spPr>
          </p:pic>
        </p:grp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4142786A-0A63-4E4F-93C7-691F14EE0537}"/>
                </a:ext>
              </a:extLst>
            </p:cNvPr>
            <p:cNvSpPr txBox="1"/>
            <p:nvPr/>
          </p:nvSpPr>
          <p:spPr>
            <a:xfrm>
              <a:off x="9686426" y="1588873"/>
              <a:ext cx="2284506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defRPr/>
              </a:pPr>
              <a:r>
                <a:rPr lang="en-US" dirty="0"/>
                <a:t>Highlight the current item title and page number as follows: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07152F3A-AA58-A84A-9EB7-FBD519281D97}"/>
                </a:ext>
              </a:extLst>
            </p:cNvPr>
            <p:cNvSpPr txBox="1"/>
            <p:nvPr/>
          </p:nvSpPr>
          <p:spPr>
            <a:xfrm>
              <a:off x="9686426" y="1111528"/>
              <a:ext cx="2425134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defRPr/>
              </a:pPr>
              <a:r>
                <a:rPr lang="en-US" dirty="0"/>
                <a:t>Select and delete any unused item placeholders to remove the lines.</a:t>
              </a:r>
            </a:p>
          </p:txBody>
        </p:sp>
        <p:sp>
          <p:nvSpPr>
            <p:cNvPr id="199" name="TextBox 198">
              <a:extLst>
                <a:ext uri="{FF2B5EF4-FFF2-40B4-BE49-F238E27FC236}">
                  <a16:creationId xmlns:a16="http://schemas.microsoft.com/office/drawing/2014/main" id="{F9F2552A-118B-6B4D-96D5-DD7E30384C0A}"/>
                </a:ext>
              </a:extLst>
            </p:cNvPr>
            <p:cNvSpPr txBox="1"/>
            <p:nvPr/>
          </p:nvSpPr>
          <p:spPr>
            <a:xfrm>
              <a:off x="9694073" y="2789000"/>
              <a:ext cx="2269212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Make sure the entire element is selected—it won’t work correctly if you have your cursor in the text.</a:t>
              </a:r>
            </a:p>
          </p:txBody>
        </p: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32F571D5-4F36-EC49-8A09-B4D4A0958C3F}"/>
                </a:ext>
              </a:extLst>
            </p:cNvPr>
            <p:cNvSpPr txBox="1"/>
            <p:nvPr/>
          </p:nvSpPr>
          <p:spPr>
            <a:xfrm>
              <a:off x="9686426" y="5004333"/>
              <a:ext cx="2126422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Click anywhere on the page number of current agenda item (on the text works here) to apply the highlight style.</a:t>
              </a: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6DD556FA-E7AC-9148-B57F-E293EE977EBE}"/>
                </a:ext>
              </a:extLst>
            </p:cNvPr>
            <p:cNvSpPr/>
            <p:nvPr/>
          </p:nvSpPr>
          <p:spPr>
            <a:xfrm>
              <a:off x="9686427" y="2347974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ADEE7DA1-1F48-384F-89D9-9DA13F350772}"/>
                </a:ext>
              </a:extLst>
            </p:cNvPr>
            <p:cNvGrpSpPr/>
            <p:nvPr/>
          </p:nvGrpSpPr>
          <p:grpSpPr>
            <a:xfrm>
              <a:off x="9686426" y="3062499"/>
              <a:ext cx="2284506" cy="249299"/>
              <a:chOff x="9431244" y="2862535"/>
              <a:chExt cx="2284506" cy="249299"/>
            </a:xfrm>
          </p:grpSpPr>
          <p:pic>
            <p:nvPicPr>
              <p:cNvPr id="224" name="Picture 223">
                <a:extLst>
                  <a:ext uri="{FF2B5EF4-FFF2-40B4-BE49-F238E27FC236}">
                    <a16:creationId xmlns:a16="http://schemas.microsoft.com/office/drawing/2014/main" id="{3ACC768F-04E3-A840-822B-D1EFB3C987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BE88291A-40C1-C145-821D-3DC04F178BCB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dirty="0"/>
                  <a:t>Click the Format Painter button (           ) to copy the style.</a:t>
                </a:r>
              </a:p>
            </p:txBody>
          </p:sp>
        </p:grp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95654A3A-C98F-2A41-8935-4791ADD47024}"/>
                </a:ext>
              </a:extLst>
            </p:cNvPr>
            <p:cNvSpPr txBox="1"/>
            <p:nvPr/>
          </p:nvSpPr>
          <p:spPr>
            <a:xfrm>
              <a:off x="9686426" y="3363632"/>
              <a:ext cx="2384904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Click anywhere on the current agenda item (on the text works here) to apply the highlight style.</a:t>
              </a: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FCEB0B63-DB36-F046-8D85-FA630484DC86}"/>
                </a:ext>
              </a:extLst>
            </p:cNvPr>
            <p:cNvSpPr/>
            <p:nvPr/>
          </p:nvSpPr>
          <p:spPr>
            <a:xfrm>
              <a:off x="9686427" y="4200314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4B3865E1-B4C1-B040-A27A-1016E8FD7E68}"/>
                </a:ext>
              </a:extLst>
            </p:cNvPr>
            <p:cNvSpPr txBox="1"/>
            <p:nvPr/>
          </p:nvSpPr>
          <p:spPr>
            <a:xfrm>
              <a:off x="9686426" y="4026515"/>
              <a:ext cx="2384904" cy="1246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Select the ‘page # style’ element below:</a:t>
              </a: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8B769E22-9CB3-1842-AE3D-A38FA4B458F9}"/>
                </a:ext>
              </a:extLst>
            </p:cNvPr>
            <p:cNvSpPr txBox="1"/>
            <p:nvPr/>
          </p:nvSpPr>
          <p:spPr>
            <a:xfrm>
              <a:off x="9686426" y="2184031"/>
              <a:ext cx="2384904" cy="1246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Select the ‘title style’ element below:</a:t>
              </a:r>
            </a:p>
          </p:txBody>
        </p:sp>
        <p:sp>
          <p:nvSpPr>
            <p:cNvPr id="207" name="TextBox 206">
              <a:extLst>
                <a:ext uri="{FF2B5EF4-FFF2-40B4-BE49-F238E27FC236}">
                  <a16:creationId xmlns:a16="http://schemas.microsoft.com/office/drawing/2014/main" id="{DEF58FFE-C8BB-A644-814F-B8E499AA1354}"/>
                </a:ext>
              </a:extLst>
            </p:cNvPr>
            <p:cNvSpPr txBox="1"/>
            <p:nvPr/>
          </p:nvSpPr>
          <p:spPr>
            <a:xfrm>
              <a:off x="9686426" y="1990139"/>
              <a:ext cx="783869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l"/>
              <a:r>
                <a:rPr lang="en-US" sz="700" dirty="0">
                  <a:solidFill>
                    <a:schemeClr val="bg1">
                      <a:lumMod val="85000"/>
                    </a:schemeClr>
                  </a:solidFill>
                </a:rPr>
                <a:t>HIGHLIGHT TITLE:</a:t>
              </a:r>
            </a:p>
          </p:txBody>
        </p: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E0FD961B-9C6C-C84B-82CA-1AE94D4B142C}"/>
                </a:ext>
              </a:extLst>
            </p:cNvPr>
            <p:cNvCxnSpPr>
              <a:cxnSpLocks/>
            </p:cNvCxnSpPr>
            <p:nvPr/>
          </p:nvCxnSpPr>
          <p:spPr>
            <a:xfrm>
              <a:off x="9679848" y="2113772"/>
              <a:ext cx="2511409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DFB31B83-EC2B-A841-BEB3-3BA0404E5872}"/>
                </a:ext>
              </a:extLst>
            </p:cNvPr>
            <p:cNvSpPr txBox="1"/>
            <p:nvPr/>
          </p:nvSpPr>
          <p:spPr>
            <a:xfrm>
              <a:off x="9686426" y="3831464"/>
              <a:ext cx="864019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l"/>
              <a:r>
                <a:rPr lang="en-US" sz="700" dirty="0">
                  <a:solidFill>
                    <a:schemeClr val="bg1">
                      <a:lumMod val="85000"/>
                    </a:schemeClr>
                  </a:solidFill>
                </a:rPr>
                <a:t>HIGHLIGHT PAGE #:</a:t>
              </a:r>
            </a:p>
          </p:txBody>
        </p:sp>
        <p:cxnSp>
          <p:nvCxnSpPr>
            <p:cNvPr id="210" name="Straight Connector 209">
              <a:extLst>
                <a:ext uri="{FF2B5EF4-FFF2-40B4-BE49-F238E27FC236}">
                  <a16:creationId xmlns:a16="http://schemas.microsoft.com/office/drawing/2014/main" id="{1CE7C6FE-AAF6-C844-87BE-AF0B8D40B211}"/>
                </a:ext>
              </a:extLst>
            </p:cNvPr>
            <p:cNvCxnSpPr>
              <a:cxnSpLocks/>
            </p:cNvCxnSpPr>
            <p:nvPr/>
          </p:nvCxnSpPr>
          <p:spPr>
            <a:xfrm>
              <a:off x="9679848" y="3955097"/>
              <a:ext cx="2511409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11" name="Group 210">
              <a:extLst>
                <a:ext uri="{FF2B5EF4-FFF2-40B4-BE49-F238E27FC236}">
                  <a16:creationId xmlns:a16="http://schemas.microsoft.com/office/drawing/2014/main" id="{6DC53FCD-82B6-7048-9F20-C8BA810B45DB}"/>
                </a:ext>
              </a:extLst>
            </p:cNvPr>
            <p:cNvGrpSpPr/>
            <p:nvPr/>
          </p:nvGrpSpPr>
          <p:grpSpPr>
            <a:xfrm>
              <a:off x="9686426" y="4692069"/>
              <a:ext cx="2284506" cy="249299"/>
              <a:chOff x="9431244" y="2862535"/>
              <a:chExt cx="2284506" cy="249299"/>
            </a:xfrm>
          </p:grpSpPr>
          <p:pic>
            <p:nvPicPr>
              <p:cNvPr id="222" name="Picture 221">
                <a:extLst>
                  <a:ext uri="{FF2B5EF4-FFF2-40B4-BE49-F238E27FC236}">
                    <a16:creationId xmlns:a16="http://schemas.microsoft.com/office/drawing/2014/main" id="{DBD2640C-E387-4844-A244-F11A31D012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1183DA2F-9D9A-8D45-9DFA-CF2F6744B28A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dirty="0"/>
                  <a:t>Click the Format Painter button (           ) to copy the style.</a:t>
                </a:r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id="{30958E0C-707E-074A-9E85-1719DD93FE83}"/>
                </a:ext>
              </a:extLst>
            </p:cNvPr>
            <p:cNvGrpSpPr/>
            <p:nvPr userDrawn="1"/>
          </p:nvGrpSpPr>
          <p:grpSpPr>
            <a:xfrm>
              <a:off x="9541497" y="6488937"/>
              <a:ext cx="2735151" cy="2142684"/>
              <a:chOff x="9541497" y="1525267"/>
              <a:chExt cx="2735151" cy="2142684"/>
            </a:xfrm>
          </p:grpSpPr>
          <p:grpSp>
            <p:nvGrpSpPr>
              <p:cNvPr id="233" name="Group 232">
                <a:extLst>
                  <a:ext uri="{FF2B5EF4-FFF2-40B4-BE49-F238E27FC236}">
                    <a16:creationId xmlns:a16="http://schemas.microsoft.com/office/drawing/2014/main" id="{3F659622-D770-FB48-9CA2-36AF35529F6D}"/>
                  </a:ext>
                </a:extLst>
              </p:cNvPr>
              <p:cNvGrpSpPr/>
              <p:nvPr userDrawn="1"/>
            </p:nvGrpSpPr>
            <p:grpSpPr>
              <a:xfrm>
                <a:off x="9541497" y="1525267"/>
                <a:ext cx="2735151" cy="2142684"/>
                <a:chOff x="9296567" y="5817858"/>
                <a:chExt cx="2735151" cy="2142684"/>
              </a:xfrm>
            </p:grpSpPr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52D66407-36D6-4244-914D-013403C7AC4E}"/>
                    </a:ext>
                  </a:extLst>
                </p:cNvPr>
                <p:cNvSpPr/>
                <p:nvPr userDrawn="1"/>
              </p:nvSpPr>
              <p:spPr>
                <a:xfrm>
                  <a:off x="9296567" y="5817858"/>
                  <a:ext cx="2733136" cy="2142684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6" name="TextBox 235">
                  <a:extLst>
                    <a:ext uri="{FF2B5EF4-FFF2-40B4-BE49-F238E27FC236}">
                      <a16:creationId xmlns:a16="http://schemas.microsoft.com/office/drawing/2014/main" id="{ABB6D0F0-0B4F-694F-B630-8A3236A551BC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936094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Drag-select</a:t>
                  </a:r>
                </a:p>
              </p:txBody>
            </p:sp>
            <p:pic>
              <p:nvPicPr>
                <p:cNvPr id="237" name="Graphic 236">
                  <a:extLst>
                    <a:ext uri="{FF2B5EF4-FFF2-40B4-BE49-F238E27FC236}">
                      <a16:creationId xmlns:a16="http://schemas.microsoft.com/office/drawing/2014/main" id="{186673D5-8245-0F44-9FE3-7768FD6A4C5A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946377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238" name="TextBox 237">
                  <a:extLst>
                    <a:ext uri="{FF2B5EF4-FFF2-40B4-BE49-F238E27FC236}">
                      <a16:creationId xmlns:a16="http://schemas.microsoft.com/office/drawing/2014/main" id="{A7383FE6-0069-8142-87B1-325CA7B82F1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169594"/>
                  <a:ext cx="2444785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>
                    <a:spcBef>
                      <a:spcPts val="200"/>
                    </a:spcBef>
                  </a:pPr>
                  <a:r>
                    <a:rPr lang="en-US" sz="9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Easily select multiple placeholders for deletion:</a:t>
                  </a:r>
                </a:p>
              </p:txBody>
            </p:sp>
            <p:sp>
              <p:nvSpPr>
                <p:cNvPr id="239" name="TextBox 238">
                  <a:extLst>
                    <a:ext uri="{FF2B5EF4-FFF2-40B4-BE49-F238E27FC236}">
                      <a16:creationId xmlns:a16="http://schemas.microsoft.com/office/drawing/2014/main" id="{9210F285-B4A2-FC43-BC5B-7EF7D83CDAFB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6398194"/>
                  <a:ext cx="1174622" cy="4985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b="1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Click</a:t>
                  </a: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above and to the left of the first placeholder you’d like to delete.</a:t>
                  </a:r>
                </a:p>
              </p:txBody>
            </p:sp>
            <p:sp>
              <p:nvSpPr>
                <p:cNvPr id="240" name="TextBox 239">
                  <a:extLst>
                    <a:ext uri="{FF2B5EF4-FFF2-40B4-BE49-F238E27FC236}">
                      <a16:creationId xmlns:a16="http://schemas.microsoft.com/office/drawing/2014/main" id="{EC646126-52E4-C347-AC65-C032199DDAD5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7426396"/>
                  <a:ext cx="2444785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ll the placeholders inside the drag area will now be selected. Press Delete on the keyboard to remove them.</a:t>
                  </a:r>
                </a:p>
              </p:txBody>
            </p:sp>
            <p:sp>
              <p:nvSpPr>
                <p:cNvPr id="241" name="TextBox 240">
                  <a:extLst>
                    <a:ext uri="{FF2B5EF4-FFF2-40B4-BE49-F238E27FC236}">
                      <a16:creationId xmlns:a16="http://schemas.microsoft.com/office/drawing/2014/main" id="{83C0DA68-7210-F344-B933-262216762A61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974619"/>
                  <a:ext cx="2414403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Then (still holding down the first click) </a:t>
                  </a:r>
                  <a:b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900" b="1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rag</a:t>
                  </a: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the cursor to below and to the right of the last placeholder and </a:t>
                  </a:r>
                  <a:r>
                    <a:rPr lang="en-US" sz="900" b="1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release</a:t>
                  </a: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the click.</a:t>
                  </a:r>
                </a:p>
              </p:txBody>
            </p:sp>
          </p:grpSp>
          <p:pic>
            <p:nvPicPr>
              <p:cNvPr id="234" name="Picture 233">
                <a:extLst>
                  <a:ext uri="{FF2B5EF4-FFF2-40B4-BE49-F238E27FC236}">
                    <a16:creationId xmlns:a16="http://schemas.microsoft.com/office/drawing/2014/main" id="{90C81D1C-FBC0-2D47-9C08-925873AF6C7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t="33282" b="9876"/>
              <a:stretch/>
            </p:blipFill>
            <p:spPr>
              <a:xfrm>
                <a:off x="10901855" y="2099340"/>
                <a:ext cx="1237314" cy="517325"/>
              </a:xfrm>
              <a:prstGeom prst="rect">
                <a:avLst/>
              </a:prstGeom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196CE33-C89A-DF4A-A514-4B0F089622A5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agenda title. All caps. Two lines max.</a:t>
            </a:r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680AE5C6-20A0-3842-8FA0-B38AA603F8A3}"/>
              </a:ext>
            </a:extLst>
          </p:cNvPr>
          <p:cNvSpPr>
            <a:spLocks noGrp="1"/>
          </p:cNvSpPr>
          <p:nvPr userDrawn="1">
            <p:ph type="body" sz="quarter" idx="121" hasCustomPrompt="1"/>
          </p:nvPr>
        </p:nvSpPr>
        <p:spPr>
          <a:xfrm>
            <a:off x="9701721" y="2356306"/>
            <a:ext cx="2429418" cy="376755"/>
          </a:xfrm>
          <a:solidFill>
            <a:schemeClr val="accent1"/>
          </a:solidFill>
          <a:ln w="31750">
            <a:solidFill>
              <a:schemeClr val="accent1"/>
            </a:solidFill>
          </a:ln>
          <a:effectLst/>
        </p:spPr>
        <p:txBody>
          <a:bodyPr lIns="432000" tIns="0" rIns="36000"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lect for Title style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AC21CD0C-F907-D84E-8617-2858BDF43E81}"/>
              </a:ext>
            </a:extLst>
          </p:cNvPr>
          <p:cNvSpPr>
            <a:spLocks noGrp="1"/>
          </p:cNvSpPr>
          <p:nvPr userDrawn="1">
            <p:ph type="body" sz="quarter" idx="122" hasCustomPrompt="1"/>
          </p:nvPr>
        </p:nvSpPr>
        <p:spPr>
          <a:xfrm>
            <a:off x="9701721" y="4208327"/>
            <a:ext cx="2429418" cy="376755"/>
          </a:xfrm>
          <a:noFill/>
          <a:ln w="31750">
            <a:noFill/>
          </a:ln>
          <a:effectLst/>
        </p:spPr>
        <p:txBody>
          <a:bodyPr lIns="0" tIns="0" rIns="0" anchor="ctr"/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lect for Page # style</a:t>
            </a:r>
          </a:p>
        </p:txBody>
      </p:sp>
      <p:sp>
        <p:nvSpPr>
          <p:cNvPr id="243" name="Text Placeholder 6">
            <a:extLst>
              <a:ext uri="{FF2B5EF4-FFF2-40B4-BE49-F238E27FC236}">
                <a16:creationId xmlns:a16="http://schemas.microsoft.com/office/drawing/2014/main" id="{91B769FF-FB3C-6747-8FCE-E8C24D69C27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1230726"/>
            <a:ext cx="9144000" cy="6192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44" name="Text Placeholder 6">
            <a:extLst>
              <a:ext uri="{FF2B5EF4-FFF2-40B4-BE49-F238E27FC236}">
                <a16:creationId xmlns:a16="http://schemas.microsoft.com/office/drawing/2014/main" id="{46A7DBB8-1DF6-554B-B31D-BC9C0B4F2A5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0" y="1847287"/>
            <a:ext cx="9144000" cy="6192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45" name="Text Placeholder 6">
            <a:extLst>
              <a:ext uri="{FF2B5EF4-FFF2-40B4-BE49-F238E27FC236}">
                <a16:creationId xmlns:a16="http://schemas.microsoft.com/office/drawing/2014/main" id="{D155474C-5389-7248-85C8-A7CDCFC3746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0" y="2463848"/>
            <a:ext cx="9144000" cy="6192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46" name="Text Placeholder 6">
            <a:extLst>
              <a:ext uri="{FF2B5EF4-FFF2-40B4-BE49-F238E27FC236}">
                <a16:creationId xmlns:a16="http://schemas.microsoft.com/office/drawing/2014/main" id="{64EC3DD3-A992-F048-A61E-0275830FA95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0" y="3080409"/>
            <a:ext cx="9144000" cy="6192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47" name="Text Placeholder 6">
            <a:extLst>
              <a:ext uri="{FF2B5EF4-FFF2-40B4-BE49-F238E27FC236}">
                <a16:creationId xmlns:a16="http://schemas.microsoft.com/office/drawing/2014/main" id="{BAA3DB2E-205A-534B-9C44-EFEE5BDB0FBD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0" y="3696970"/>
            <a:ext cx="9144000" cy="6192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48" name="Text Placeholder 6">
            <a:extLst>
              <a:ext uri="{FF2B5EF4-FFF2-40B4-BE49-F238E27FC236}">
                <a16:creationId xmlns:a16="http://schemas.microsoft.com/office/drawing/2014/main" id="{80869C67-837B-BE42-A9BE-AD3BBDACEB6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0" y="4313531"/>
            <a:ext cx="9144000" cy="6192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49" name="Text Placeholder 6">
            <a:extLst>
              <a:ext uri="{FF2B5EF4-FFF2-40B4-BE49-F238E27FC236}">
                <a16:creationId xmlns:a16="http://schemas.microsoft.com/office/drawing/2014/main" id="{6F036C69-95C0-FA4B-BBFA-E942D38EAA0D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0" y="4930092"/>
            <a:ext cx="9144000" cy="6192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50" name="Text Placeholder 6">
            <a:extLst>
              <a:ext uri="{FF2B5EF4-FFF2-40B4-BE49-F238E27FC236}">
                <a16:creationId xmlns:a16="http://schemas.microsoft.com/office/drawing/2014/main" id="{82CFDAFE-B1BF-ED4F-8D1B-908011FE689B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0" y="5546650"/>
            <a:ext cx="9144000" cy="6192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251" name="Text Placeholder 69">
            <a:extLst>
              <a:ext uri="{FF2B5EF4-FFF2-40B4-BE49-F238E27FC236}">
                <a16:creationId xmlns:a16="http://schemas.microsoft.com/office/drawing/2014/main" id="{58C31DAC-7646-7542-AA6F-2194522CE6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86170" y="1230726"/>
            <a:ext cx="929358" cy="6192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2" name="Text Placeholder 69">
            <a:extLst>
              <a:ext uri="{FF2B5EF4-FFF2-40B4-BE49-F238E27FC236}">
                <a16:creationId xmlns:a16="http://schemas.microsoft.com/office/drawing/2014/main" id="{F3D6B7F5-A321-C447-9339-ADB40C7B4A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6170" y="1847287"/>
            <a:ext cx="929358" cy="6192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3" name="Text Placeholder 69">
            <a:extLst>
              <a:ext uri="{FF2B5EF4-FFF2-40B4-BE49-F238E27FC236}">
                <a16:creationId xmlns:a16="http://schemas.microsoft.com/office/drawing/2014/main" id="{F918A5A2-CBA8-9746-8288-84619ED33F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86170" y="2463848"/>
            <a:ext cx="929358" cy="6192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4" name="Text Placeholder 69">
            <a:extLst>
              <a:ext uri="{FF2B5EF4-FFF2-40B4-BE49-F238E27FC236}">
                <a16:creationId xmlns:a16="http://schemas.microsoft.com/office/drawing/2014/main" id="{2110131B-6471-BA4F-83A7-D159CE9B4C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6170" y="3080409"/>
            <a:ext cx="929358" cy="6192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5" name="Text Placeholder 69">
            <a:extLst>
              <a:ext uri="{FF2B5EF4-FFF2-40B4-BE49-F238E27FC236}">
                <a16:creationId xmlns:a16="http://schemas.microsoft.com/office/drawing/2014/main" id="{5CE8F1D4-AABD-CF42-B74C-BA69A1DC78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86170" y="3696970"/>
            <a:ext cx="929358" cy="6192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6" name="Text Placeholder 69">
            <a:extLst>
              <a:ext uri="{FF2B5EF4-FFF2-40B4-BE49-F238E27FC236}">
                <a16:creationId xmlns:a16="http://schemas.microsoft.com/office/drawing/2014/main" id="{D2FA80C7-C380-C54C-AF1E-86248734CA6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86170" y="4313531"/>
            <a:ext cx="929358" cy="6192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7" name="Text Placeholder 69">
            <a:extLst>
              <a:ext uri="{FF2B5EF4-FFF2-40B4-BE49-F238E27FC236}">
                <a16:creationId xmlns:a16="http://schemas.microsoft.com/office/drawing/2014/main" id="{10925F75-A1A8-3744-991C-D7C51B06B0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86170" y="4930092"/>
            <a:ext cx="929358" cy="6192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58" name="Text Placeholder 69">
            <a:extLst>
              <a:ext uri="{FF2B5EF4-FFF2-40B4-BE49-F238E27FC236}">
                <a16:creationId xmlns:a16="http://schemas.microsoft.com/office/drawing/2014/main" id="{748091C7-C5FA-B14E-912F-6F96120CF9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86170" y="5546650"/>
            <a:ext cx="929358" cy="6192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C2848D6D-D4D4-484F-84EB-E19276855D2D}"/>
              </a:ext>
            </a:extLst>
          </p:cNvPr>
          <p:cNvSpPr>
            <a:spLocks noGrp="1"/>
          </p:cNvSpPr>
          <p:nvPr>
            <p:ph type="dt" sz="half" idx="12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1CFB29B8-ED2F-0C4F-B216-72AB74C1E9F3}"/>
              </a:ext>
            </a:extLst>
          </p:cNvPr>
          <p:cNvSpPr>
            <a:spLocks noGrp="1"/>
          </p:cNvSpPr>
          <p:nvPr>
            <p:ph type="ftr" sz="quarter" idx="12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BCF4CEC3-D8BB-F04A-A1D0-780B8D944778}"/>
              </a:ext>
            </a:extLst>
          </p:cNvPr>
          <p:cNvSpPr>
            <a:spLocks noGrp="1"/>
          </p:cNvSpPr>
          <p:nvPr>
            <p:ph type="sldNum" sz="quarter" idx="125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30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Agenda (1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ctangle 138">
            <a:extLst>
              <a:ext uri="{FF2B5EF4-FFF2-40B4-BE49-F238E27FC236}">
                <a16:creationId xmlns:a16="http://schemas.microsoft.com/office/drawing/2014/main" id="{0735789A-63DF-F64F-9BFF-A24BA7A397AC}"/>
              </a:ext>
            </a:extLst>
          </p:cNvPr>
          <p:cNvSpPr/>
          <p:nvPr userDrawn="1"/>
        </p:nvSpPr>
        <p:spPr>
          <a:xfrm>
            <a:off x="0" y="614023"/>
            <a:ext cx="9144000" cy="6192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EBA89B3-0596-F74E-9FA2-DC751E0E88E4}"/>
              </a:ext>
            </a:extLst>
          </p:cNvPr>
          <p:cNvGrpSpPr/>
          <p:nvPr userDrawn="1"/>
        </p:nvGrpSpPr>
        <p:grpSpPr>
          <a:xfrm>
            <a:off x="9399182" y="-1"/>
            <a:ext cx="2877466" cy="8631622"/>
            <a:chOff x="9399182" y="-1"/>
            <a:chExt cx="2877466" cy="8631622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F4E83308-CF57-9E47-BA44-7A84C42B5978}"/>
                </a:ext>
              </a:extLst>
            </p:cNvPr>
            <p:cNvSpPr/>
            <p:nvPr userDrawn="1"/>
          </p:nvSpPr>
          <p:spPr>
            <a:xfrm>
              <a:off x="9399182" y="-1"/>
              <a:ext cx="2798651" cy="848185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2A5C2D3-9F21-234B-9F98-3DE702C886F7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1610350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02ADF69-BF1B-1A46-8854-22053F603054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8195510-2A26-3049-8967-D7F2BC33D906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521833" y="1139035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496DEE2-CA7E-AE42-879D-AF53D0749FFE}"/>
                </a:ext>
              </a:extLst>
            </p:cNvPr>
            <p:cNvSpPr txBox="1"/>
            <p:nvPr userDrawn="1"/>
          </p:nvSpPr>
          <p:spPr>
            <a:xfrm>
              <a:off x="9686426" y="513115"/>
              <a:ext cx="2425134" cy="48474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spcAft>
                  <a:spcPts val="0"/>
                </a:spcAft>
              </a:pPr>
              <a:r>
                <a:rPr lang="en-US" dirty="0"/>
                <a:t>Enter up to 14 agenda items and their page numbers. </a:t>
              </a:r>
            </a:p>
            <a:p>
              <a:pPr lvl="2"/>
              <a:r>
                <a:rPr lang="en-US" dirty="0"/>
                <a:t>Switch to the 8-item agenda if you need fewer. 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4E036DD-4A36-4B41-969E-46701BA472FB}"/>
                </a:ext>
              </a:extLst>
            </p:cNvPr>
            <p:cNvSpPr txBox="1"/>
            <p:nvPr userDrawn="1"/>
          </p:nvSpPr>
          <p:spPr>
            <a:xfrm>
              <a:off x="9558507" y="150290"/>
              <a:ext cx="186749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USE THE AGENDA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4171E0C5-608B-FF44-A6A5-678877741E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52907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68704FB-F8CC-2D48-82EA-8020021930B4}"/>
                </a:ext>
              </a:extLst>
            </p:cNvPr>
            <p:cNvGrpSpPr/>
            <p:nvPr userDrawn="1"/>
          </p:nvGrpSpPr>
          <p:grpSpPr>
            <a:xfrm>
              <a:off x="9541497" y="5505499"/>
              <a:ext cx="2735151" cy="919215"/>
              <a:chOff x="9296567" y="4150379"/>
              <a:chExt cx="2735151" cy="91921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2848AF80-78DE-6B4E-AAFC-ECF1C10CD0B4}"/>
                  </a:ext>
                </a:extLst>
              </p:cNvPr>
              <p:cNvGrpSpPr/>
              <p:nvPr userDrawn="1"/>
            </p:nvGrpSpPr>
            <p:grpSpPr>
              <a:xfrm>
                <a:off x="9296567" y="4150379"/>
                <a:ext cx="2735151" cy="919215"/>
                <a:chOff x="9296567" y="5817858"/>
                <a:chExt cx="2735151" cy="919215"/>
              </a:xfrm>
            </p:grpSpPr>
            <p:sp>
              <p:nvSpPr>
                <p:cNvPr id="85" name="Rectangle 84">
                  <a:extLst>
                    <a:ext uri="{FF2B5EF4-FFF2-40B4-BE49-F238E27FC236}">
                      <a16:creationId xmlns:a16="http://schemas.microsoft.com/office/drawing/2014/main" id="{C98E8FA1-C645-CA4C-9A7D-083293E08816}"/>
                    </a:ext>
                  </a:extLst>
                </p:cNvPr>
                <p:cNvSpPr/>
                <p:nvPr userDrawn="1"/>
              </p:nvSpPr>
              <p:spPr>
                <a:xfrm>
                  <a:off x="9296567" y="5817858"/>
                  <a:ext cx="2733136" cy="919215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70D9BBD7-B8A7-4242-B359-9835E773B97C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936094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Reset Placeholders</a:t>
                  </a:r>
                </a:p>
              </p:txBody>
            </p:sp>
            <p:pic>
              <p:nvPicPr>
                <p:cNvPr id="87" name="Graphic 86">
                  <a:extLst>
                    <a:ext uri="{FF2B5EF4-FFF2-40B4-BE49-F238E27FC236}">
                      <a16:creationId xmlns:a16="http://schemas.microsoft.com/office/drawing/2014/main" id="{985CB0FA-7C01-054B-95CD-E445FA24330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946377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84979134-C3B7-EA40-B6A3-56FD3BE593AA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169594"/>
                  <a:ext cx="2491595" cy="441146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>
                    <a:spcBef>
                      <a:spcPts val="200"/>
                    </a:spcBef>
                  </a:pPr>
                  <a:r>
                    <a:rPr lang="en-US" sz="9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Press the Reset (            ) button to bring back placeholders you have deleted if you need them. </a:t>
                  </a:r>
                </a:p>
                <a:p>
                  <a:pPr algn="l">
                    <a:spcBef>
                      <a:spcPts val="200"/>
                    </a:spcBef>
                  </a:pPr>
                  <a:r>
                    <a:rPr lang="en-US" sz="9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Note: this will also remove your item highlight.</a:t>
                  </a:r>
                </a:p>
              </p:txBody>
            </p:sp>
          </p:grpSp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9DBFC0E8-D037-9D47-9459-C3C5D94A426B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5"/>
              <a:srcRect t="-7688" r="11531" b="-1"/>
              <a:stretch/>
            </p:blipFill>
            <p:spPr>
              <a:xfrm>
                <a:off x="10368085" y="4507363"/>
                <a:ext cx="346954" cy="130863"/>
              </a:xfrm>
              <a:prstGeom prst="rect">
                <a:avLst/>
              </a:prstGeom>
            </p:spPr>
          </p:pic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26ECECB2-9E9D-9C4A-BC3F-D4B6EF59D7B2}"/>
                </a:ext>
              </a:extLst>
            </p:cNvPr>
            <p:cNvSpPr txBox="1"/>
            <p:nvPr/>
          </p:nvSpPr>
          <p:spPr>
            <a:xfrm>
              <a:off x="9686426" y="1588873"/>
              <a:ext cx="2284506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defRPr/>
              </a:pPr>
              <a:r>
                <a:rPr lang="en-US" dirty="0"/>
                <a:t>Highlight the current item title and page number as follows: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3ED648A-9D4D-4F41-AB76-D687D0E49DFB}"/>
                </a:ext>
              </a:extLst>
            </p:cNvPr>
            <p:cNvSpPr txBox="1"/>
            <p:nvPr/>
          </p:nvSpPr>
          <p:spPr>
            <a:xfrm>
              <a:off x="9686426" y="1111528"/>
              <a:ext cx="2425134" cy="32316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>
                <a:defRPr/>
              </a:pPr>
              <a:r>
                <a:rPr lang="en-US" dirty="0"/>
                <a:t>Select and delete any unused item placeholders to remove the lines.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271BCEA-EA17-C24E-87BB-934AFBBF87E6}"/>
                </a:ext>
              </a:extLst>
            </p:cNvPr>
            <p:cNvSpPr txBox="1"/>
            <p:nvPr/>
          </p:nvSpPr>
          <p:spPr>
            <a:xfrm>
              <a:off x="9694073" y="2789000"/>
              <a:ext cx="2269212" cy="215444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dirty="0"/>
                <a:t>Note: Make sure the entire element is selected—it won’t work correctly if you have your cursor in the text.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A5CB92E-0A0F-AC42-8739-C4D22325B31B}"/>
                </a:ext>
              </a:extLst>
            </p:cNvPr>
            <p:cNvSpPr txBox="1"/>
            <p:nvPr/>
          </p:nvSpPr>
          <p:spPr>
            <a:xfrm>
              <a:off x="9686426" y="5004333"/>
              <a:ext cx="2126422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Click anywhere on the page number of current agenda item (on the text works here) to apply the highlight style.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89B837D-7809-FE49-9BC4-51E31160E426}"/>
                </a:ext>
              </a:extLst>
            </p:cNvPr>
            <p:cNvSpPr/>
            <p:nvPr/>
          </p:nvSpPr>
          <p:spPr>
            <a:xfrm>
              <a:off x="9686427" y="2347974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B2F7C5ED-DA74-5D44-A55A-C451CAD6D7F9}"/>
                </a:ext>
              </a:extLst>
            </p:cNvPr>
            <p:cNvGrpSpPr/>
            <p:nvPr/>
          </p:nvGrpSpPr>
          <p:grpSpPr>
            <a:xfrm>
              <a:off x="9686426" y="3062499"/>
              <a:ext cx="2284506" cy="249299"/>
              <a:chOff x="9431244" y="2862535"/>
              <a:chExt cx="2284506" cy="249299"/>
            </a:xfrm>
          </p:grpSpPr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24774FB4-765A-9E49-A933-097A5BD5D6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1B7D5897-54FC-ED4C-878C-E0BBE070F573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dirty="0"/>
                  <a:t>Click the Format Painter button (           ) to copy the style.</a:t>
                </a: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10BF092-52C8-A14D-86F5-8BF992C1ECD8}"/>
                </a:ext>
              </a:extLst>
            </p:cNvPr>
            <p:cNvSpPr txBox="1"/>
            <p:nvPr/>
          </p:nvSpPr>
          <p:spPr>
            <a:xfrm>
              <a:off x="9686426" y="3363632"/>
              <a:ext cx="2384904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Click anywhere on the current agenda item (on the text works here) to apply the highlight style.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BDB51E4-A24F-4342-8A5A-EDD95B943E22}"/>
                </a:ext>
              </a:extLst>
            </p:cNvPr>
            <p:cNvSpPr/>
            <p:nvPr/>
          </p:nvSpPr>
          <p:spPr>
            <a:xfrm>
              <a:off x="9686427" y="4200314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C97E8A0-B37A-3044-82A9-7D36673708BC}"/>
                </a:ext>
              </a:extLst>
            </p:cNvPr>
            <p:cNvSpPr txBox="1"/>
            <p:nvPr/>
          </p:nvSpPr>
          <p:spPr>
            <a:xfrm>
              <a:off x="9686426" y="4026515"/>
              <a:ext cx="2384904" cy="1246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Select the ‘page # style’ element below: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80195D2-2D31-7942-B7D0-9F85C7D444AF}"/>
                </a:ext>
              </a:extLst>
            </p:cNvPr>
            <p:cNvSpPr txBox="1"/>
            <p:nvPr/>
          </p:nvSpPr>
          <p:spPr>
            <a:xfrm>
              <a:off x="9686426" y="2184031"/>
              <a:ext cx="2384904" cy="124650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Select the ‘title style’ element below: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A64BF6C-B9BD-1B41-969F-45514CC5BAE1}"/>
                </a:ext>
              </a:extLst>
            </p:cNvPr>
            <p:cNvSpPr txBox="1"/>
            <p:nvPr/>
          </p:nvSpPr>
          <p:spPr>
            <a:xfrm>
              <a:off x="9686426" y="1990139"/>
              <a:ext cx="783869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l"/>
              <a:r>
                <a:rPr lang="en-US" sz="700" dirty="0">
                  <a:solidFill>
                    <a:schemeClr val="bg1">
                      <a:lumMod val="85000"/>
                    </a:schemeClr>
                  </a:solidFill>
                </a:rPr>
                <a:t>HIGHLIGHT TITLE:</a:t>
              </a: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2EFF5343-F139-D44E-8CF9-F7359DCDB499}"/>
                </a:ext>
              </a:extLst>
            </p:cNvPr>
            <p:cNvCxnSpPr>
              <a:cxnSpLocks/>
            </p:cNvCxnSpPr>
            <p:nvPr/>
          </p:nvCxnSpPr>
          <p:spPr>
            <a:xfrm>
              <a:off x="9679848" y="2113772"/>
              <a:ext cx="2511409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61BC977-1E81-D943-96A2-8EC320962EB3}"/>
                </a:ext>
              </a:extLst>
            </p:cNvPr>
            <p:cNvSpPr txBox="1"/>
            <p:nvPr/>
          </p:nvSpPr>
          <p:spPr>
            <a:xfrm>
              <a:off x="9686426" y="3831464"/>
              <a:ext cx="864019" cy="107722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/>
            <a:p>
              <a:pPr algn="l"/>
              <a:r>
                <a:rPr lang="en-US" sz="700" dirty="0">
                  <a:solidFill>
                    <a:schemeClr val="bg1">
                      <a:lumMod val="85000"/>
                    </a:schemeClr>
                  </a:solidFill>
                </a:rPr>
                <a:t>HIGHLIGHT PAGE #: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11E58E32-BCB0-7D4E-97A2-FF92AE046C34}"/>
                </a:ext>
              </a:extLst>
            </p:cNvPr>
            <p:cNvCxnSpPr>
              <a:cxnSpLocks/>
            </p:cNvCxnSpPr>
            <p:nvPr/>
          </p:nvCxnSpPr>
          <p:spPr>
            <a:xfrm>
              <a:off x="9679848" y="3955097"/>
              <a:ext cx="2511409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2E08EBDD-4F9E-2F46-94B0-7AEFB64F4D50}"/>
                </a:ext>
              </a:extLst>
            </p:cNvPr>
            <p:cNvGrpSpPr/>
            <p:nvPr/>
          </p:nvGrpSpPr>
          <p:grpSpPr>
            <a:xfrm>
              <a:off x="9686426" y="4692069"/>
              <a:ext cx="2284506" cy="249299"/>
              <a:chOff x="9431244" y="2862535"/>
              <a:chExt cx="2284506" cy="249299"/>
            </a:xfrm>
          </p:grpSpPr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DC8D70F4-324D-F14D-8D90-4F533C708B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0E162A8C-5CB5-0348-AF65-83FDA753EF06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dirty="0"/>
                  <a:t>Click the Format Painter button (           ) to copy the style.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1EE1626-B758-3D4F-9E45-7DFD0CF68876}"/>
                </a:ext>
              </a:extLst>
            </p:cNvPr>
            <p:cNvGrpSpPr/>
            <p:nvPr userDrawn="1"/>
          </p:nvGrpSpPr>
          <p:grpSpPr>
            <a:xfrm>
              <a:off x="9541497" y="6488937"/>
              <a:ext cx="2735151" cy="2142684"/>
              <a:chOff x="9541497" y="1525267"/>
              <a:chExt cx="2735151" cy="2142684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EF4513C3-471E-9542-A66F-5928FF17E189}"/>
                  </a:ext>
                </a:extLst>
              </p:cNvPr>
              <p:cNvGrpSpPr/>
              <p:nvPr userDrawn="1"/>
            </p:nvGrpSpPr>
            <p:grpSpPr>
              <a:xfrm>
                <a:off x="9541497" y="1525267"/>
                <a:ext cx="2735151" cy="2142684"/>
                <a:chOff x="9296567" y="5817858"/>
                <a:chExt cx="2735151" cy="2142684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3BCA6528-B4AD-3B4E-817E-7E37B4801528}"/>
                    </a:ext>
                  </a:extLst>
                </p:cNvPr>
                <p:cNvSpPr/>
                <p:nvPr userDrawn="1"/>
              </p:nvSpPr>
              <p:spPr>
                <a:xfrm>
                  <a:off x="9296567" y="5817858"/>
                  <a:ext cx="2733136" cy="2142684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374FCEAF-1509-4F42-9497-CD879A6A719D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936094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Drag-select</a:t>
                  </a:r>
                </a:p>
              </p:txBody>
            </p:sp>
            <p:pic>
              <p:nvPicPr>
                <p:cNvPr id="66" name="Graphic 65">
                  <a:extLst>
                    <a:ext uri="{FF2B5EF4-FFF2-40B4-BE49-F238E27FC236}">
                      <a16:creationId xmlns:a16="http://schemas.microsoft.com/office/drawing/2014/main" id="{5DFF07DF-FE13-CC4C-B76D-1D2605070E4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946377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FED285DC-C61D-0D45-9BC6-5561AE17004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169594"/>
                  <a:ext cx="2444785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>
                    <a:spcBef>
                      <a:spcPts val="200"/>
                    </a:spcBef>
                  </a:pPr>
                  <a:r>
                    <a:rPr lang="en-US" sz="9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Easily select multiple placeholders for deletion:</a:t>
                  </a:r>
                </a:p>
              </p:txBody>
            </p:sp>
            <p:sp>
              <p:nvSpPr>
                <p:cNvPr id="135" name="TextBox 134">
                  <a:extLst>
                    <a:ext uri="{FF2B5EF4-FFF2-40B4-BE49-F238E27FC236}">
                      <a16:creationId xmlns:a16="http://schemas.microsoft.com/office/drawing/2014/main" id="{03DC49DC-B6F7-5247-938C-5887557DD711}"/>
                    </a:ext>
                  </a:extLst>
                </p:cNvPr>
                <p:cNvSpPr txBox="1"/>
                <p:nvPr userDrawn="1"/>
              </p:nvSpPr>
              <p:spPr>
                <a:xfrm>
                  <a:off x="9471806" y="6398194"/>
                  <a:ext cx="1174622" cy="4985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b="1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Click</a:t>
                  </a: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above and to the left of the first placeholder you’d like to delete.</a:t>
                  </a:r>
                </a:p>
              </p:txBody>
            </p:sp>
            <p:sp>
              <p:nvSpPr>
                <p:cNvPr id="136" name="TextBox 135">
                  <a:extLst>
                    <a:ext uri="{FF2B5EF4-FFF2-40B4-BE49-F238E27FC236}">
                      <a16:creationId xmlns:a16="http://schemas.microsoft.com/office/drawing/2014/main" id="{1F4843CF-D9EC-4B47-B9A7-B0D9BD1FDA87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7426396"/>
                  <a:ext cx="2444785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All the placeholders inside the drag area will now be selected. Press Delete on the keyboard to remove them.</a:t>
                  </a:r>
                </a:p>
              </p:txBody>
            </p:sp>
            <p:sp>
              <p:nvSpPr>
                <p:cNvPr id="137" name="TextBox 136">
                  <a:extLst>
                    <a:ext uri="{FF2B5EF4-FFF2-40B4-BE49-F238E27FC236}">
                      <a16:creationId xmlns:a16="http://schemas.microsoft.com/office/drawing/2014/main" id="{6F7F8E90-37AA-3743-BDF9-554E740DFC7B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974619"/>
                  <a:ext cx="2414403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Then (still holding down the first click) </a:t>
                  </a:r>
                  <a:b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900" b="1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rag</a:t>
                  </a: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the cursor to below and to the right of the last placeholder and </a:t>
                  </a:r>
                  <a:r>
                    <a:rPr lang="en-US" sz="900" b="1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release</a:t>
                  </a: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 the click.</a:t>
                  </a:r>
                </a:p>
              </p:txBody>
            </p:sp>
          </p:grpSp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DC5AED72-86C8-4444-90CE-59B076CE475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/>
              <a:srcRect t="33282" b="9876"/>
              <a:stretch/>
            </p:blipFill>
            <p:spPr>
              <a:xfrm>
                <a:off x="10901855" y="2099340"/>
                <a:ext cx="1237314" cy="517325"/>
              </a:xfrm>
              <a:prstGeom prst="rect">
                <a:avLst/>
              </a:prstGeom>
            </p:spPr>
          </p:pic>
        </p:grp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E767ABA5-A206-AB44-BDCD-CBEA4F6A31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agenda title. All caps. Two lines max.</a:t>
            </a:r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E65DF37D-BE32-8D48-B3BD-F72A205AA20A}"/>
              </a:ext>
            </a:extLst>
          </p:cNvPr>
          <p:cNvSpPr>
            <a:spLocks noGrp="1"/>
          </p:cNvSpPr>
          <p:nvPr userDrawn="1">
            <p:ph type="body" sz="quarter" idx="134" hasCustomPrompt="1"/>
          </p:nvPr>
        </p:nvSpPr>
        <p:spPr>
          <a:xfrm>
            <a:off x="9701721" y="2361848"/>
            <a:ext cx="2429418" cy="376755"/>
          </a:xfrm>
          <a:solidFill>
            <a:schemeClr val="accent1"/>
          </a:solidFill>
          <a:ln w="31750">
            <a:solidFill>
              <a:schemeClr val="accent1"/>
            </a:solidFill>
          </a:ln>
          <a:effectLst/>
        </p:spPr>
        <p:txBody>
          <a:bodyPr lIns="432000" tIns="0" rIns="36000"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lect for Title style</a:t>
            </a:r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D92F429B-9DFB-EE41-9601-2CCC105A7E84}"/>
              </a:ext>
            </a:extLst>
          </p:cNvPr>
          <p:cNvSpPr>
            <a:spLocks noGrp="1"/>
          </p:cNvSpPr>
          <p:nvPr userDrawn="1">
            <p:ph type="body" sz="quarter" idx="135" hasCustomPrompt="1"/>
          </p:nvPr>
        </p:nvSpPr>
        <p:spPr>
          <a:xfrm>
            <a:off x="9701721" y="4222582"/>
            <a:ext cx="2429418" cy="376755"/>
          </a:xfrm>
          <a:noFill/>
          <a:ln w="31750">
            <a:noFill/>
          </a:ln>
          <a:effectLst/>
        </p:spPr>
        <p:txBody>
          <a:bodyPr lIns="0" tIns="0" rIns="0" anchor="ctr"/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lect for Page # style</a:t>
            </a:r>
          </a:p>
        </p:txBody>
      </p:sp>
      <p:sp>
        <p:nvSpPr>
          <p:cNvPr id="140" name="Text Placeholder 6">
            <a:extLst>
              <a:ext uri="{FF2B5EF4-FFF2-40B4-BE49-F238E27FC236}">
                <a16:creationId xmlns:a16="http://schemas.microsoft.com/office/drawing/2014/main" id="{89312458-EDEA-F145-8A40-F9DE180A0CD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1230726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1" name="Text Placeholder 6">
            <a:extLst>
              <a:ext uri="{FF2B5EF4-FFF2-40B4-BE49-F238E27FC236}">
                <a16:creationId xmlns:a16="http://schemas.microsoft.com/office/drawing/2014/main" id="{0881407E-5EEA-0645-B564-820137734C4B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0" y="1583212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2" name="Text Placeholder 6">
            <a:extLst>
              <a:ext uri="{FF2B5EF4-FFF2-40B4-BE49-F238E27FC236}">
                <a16:creationId xmlns:a16="http://schemas.microsoft.com/office/drawing/2014/main" id="{975DCA04-BA85-B943-AAF1-92DA5F62A968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0" y="1935698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3" name="Text Placeholder 6">
            <a:extLst>
              <a:ext uri="{FF2B5EF4-FFF2-40B4-BE49-F238E27FC236}">
                <a16:creationId xmlns:a16="http://schemas.microsoft.com/office/drawing/2014/main" id="{F953D556-C770-7D48-83BE-3EAD34AD583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0" y="2288184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4" name="Text Placeholder 6">
            <a:extLst>
              <a:ext uri="{FF2B5EF4-FFF2-40B4-BE49-F238E27FC236}">
                <a16:creationId xmlns:a16="http://schemas.microsoft.com/office/drawing/2014/main" id="{91CCF692-76BB-6A4A-885F-E120A2711E8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0" y="2640670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5" name="Text Placeholder 6">
            <a:extLst>
              <a:ext uri="{FF2B5EF4-FFF2-40B4-BE49-F238E27FC236}">
                <a16:creationId xmlns:a16="http://schemas.microsoft.com/office/drawing/2014/main" id="{0C2671C4-8F73-6846-BED4-E2715655483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0" y="2993156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6" name="Text Placeholder 6">
            <a:extLst>
              <a:ext uri="{FF2B5EF4-FFF2-40B4-BE49-F238E27FC236}">
                <a16:creationId xmlns:a16="http://schemas.microsoft.com/office/drawing/2014/main" id="{5FA8609C-9B16-FA4C-9F2C-D1248CCE8ACE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0" y="3345642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7" name="Text Placeholder 6">
            <a:extLst>
              <a:ext uri="{FF2B5EF4-FFF2-40B4-BE49-F238E27FC236}">
                <a16:creationId xmlns:a16="http://schemas.microsoft.com/office/drawing/2014/main" id="{1160FF45-12A6-CA4A-AD6A-594E7B625D9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0" y="3698128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8" name="Text Placeholder 69">
            <a:extLst>
              <a:ext uri="{FF2B5EF4-FFF2-40B4-BE49-F238E27FC236}">
                <a16:creationId xmlns:a16="http://schemas.microsoft.com/office/drawing/2014/main" id="{36C55682-41D4-2C46-A3E5-75E11CF301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86170" y="1230726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49" name="Text Placeholder 69">
            <a:extLst>
              <a:ext uri="{FF2B5EF4-FFF2-40B4-BE49-F238E27FC236}">
                <a16:creationId xmlns:a16="http://schemas.microsoft.com/office/drawing/2014/main" id="{7A7DE69A-7CAC-2D4F-9EBA-7894841268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86170" y="1583212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0" name="Text Placeholder 69">
            <a:extLst>
              <a:ext uri="{FF2B5EF4-FFF2-40B4-BE49-F238E27FC236}">
                <a16:creationId xmlns:a16="http://schemas.microsoft.com/office/drawing/2014/main" id="{8C8F8AB9-E553-FD43-9A74-A94070ABC6D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86170" y="1935698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1" name="Text Placeholder 69">
            <a:extLst>
              <a:ext uri="{FF2B5EF4-FFF2-40B4-BE49-F238E27FC236}">
                <a16:creationId xmlns:a16="http://schemas.microsoft.com/office/drawing/2014/main" id="{34397210-0F6A-4541-BF87-6238DCF7C3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86170" y="2288184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2" name="Text Placeholder 69">
            <a:extLst>
              <a:ext uri="{FF2B5EF4-FFF2-40B4-BE49-F238E27FC236}">
                <a16:creationId xmlns:a16="http://schemas.microsoft.com/office/drawing/2014/main" id="{36CB0180-6E7E-6345-BDFC-A24B6037542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86170" y="2640670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3" name="Text Placeholder 69">
            <a:extLst>
              <a:ext uri="{FF2B5EF4-FFF2-40B4-BE49-F238E27FC236}">
                <a16:creationId xmlns:a16="http://schemas.microsoft.com/office/drawing/2014/main" id="{3CDC531E-C59A-6648-B4C3-453444CE82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86170" y="2993156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4" name="Text Placeholder 69">
            <a:extLst>
              <a:ext uri="{FF2B5EF4-FFF2-40B4-BE49-F238E27FC236}">
                <a16:creationId xmlns:a16="http://schemas.microsoft.com/office/drawing/2014/main" id="{BB4EABB9-2DDE-734C-86AB-12B8EF0C61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86170" y="3345642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5" name="Text Placeholder 69">
            <a:extLst>
              <a:ext uri="{FF2B5EF4-FFF2-40B4-BE49-F238E27FC236}">
                <a16:creationId xmlns:a16="http://schemas.microsoft.com/office/drawing/2014/main" id="{51A31BC1-EC5B-CB48-906F-8A670330B3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86170" y="3698128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6" name="Text Placeholder 6">
            <a:extLst>
              <a:ext uri="{FF2B5EF4-FFF2-40B4-BE49-F238E27FC236}">
                <a16:creationId xmlns:a16="http://schemas.microsoft.com/office/drawing/2014/main" id="{CA10688B-9A84-134D-8815-3C14EE382980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0" y="4050614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57" name="Text Placeholder 69">
            <a:extLst>
              <a:ext uri="{FF2B5EF4-FFF2-40B4-BE49-F238E27FC236}">
                <a16:creationId xmlns:a16="http://schemas.microsoft.com/office/drawing/2014/main" id="{2CC5EBD5-D4B3-9A4D-9E40-19DDAE3DAEF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86170" y="4050614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58" name="Text Placeholder 6">
            <a:extLst>
              <a:ext uri="{FF2B5EF4-FFF2-40B4-BE49-F238E27FC236}">
                <a16:creationId xmlns:a16="http://schemas.microsoft.com/office/drawing/2014/main" id="{FB2BCC6B-9E0C-6B4D-BFAF-3D33A4C41128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0" y="4403100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59" name="Text Placeholder 69">
            <a:extLst>
              <a:ext uri="{FF2B5EF4-FFF2-40B4-BE49-F238E27FC236}">
                <a16:creationId xmlns:a16="http://schemas.microsoft.com/office/drawing/2014/main" id="{1AF143A3-F8D7-B34D-9F19-6EA9A69EE4F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786170" y="4403100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0" name="Text Placeholder 6">
            <a:extLst>
              <a:ext uri="{FF2B5EF4-FFF2-40B4-BE49-F238E27FC236}">
                <a16:creationId xmlns:a16="http://schemas.microsoft.com/office/drawing/2014/main" id="{F9389DF8-3B53-1B40-A060-E67F5DE54FBC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0" y="4755586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61" name="Text Placeholder 69">
            <a:extLst>
              <a:ext uri="{FF2B5EF4-FFF2-40B4-BE49-F238E27FC236}">
                <a16:creationId xmlns:a16="http://schemas.microsoft.com/office/drawing/2014/main" id="{8FB5E79E-4CE6-7348-93FF-FB68EFF84A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786170" y="4755586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2" name="Text Placeholder 6">
            <a:extLst>
              <a:ext uri="{FF2B5EF4-FFF2-40B4-BE49-F238E27FC236}">
                <a16:creationId xmlns:a16="http://schemas.microsoft.com/office/drawing/2014/main" id="{87654A3A-847F-514C-80BD-916D718925CF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0" y="5108072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63" name="Text Placeholder 69">
            <a:extLst>
              <a:ext uri="{FF2B5EF4-FFF2-40B4-BE49-F238E27FC236}">
                <a16:creationId xmlns:a16="http://schemas.microsoft.com/office/drawing/2014/main" id="{EAC4FBD6-5E88-E34F-8DC2-FB0F2C07771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786170" y="5108072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4" name="Text Placeholder 6">
            <a:extLst>
              <a:ext uri="{FF2B5EF4-FFF2-40B4-BE49-F238E27FC236}">
                <a16:creationId xmlns:a16="http://schemas.microsoft.com/office/drawing/2014/main" id="{4169DB4D-BE6F-E041-BBF4-2D644201504F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0" y="5460558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65" name="Text Placeholder 69">
            <a:extLst>
              <a:ext uri="{FF2B5EF4-FFF2-40B4-BE49-F238E27FC236}">
                <a16:creationId xmlns:a16="http://schemas.microsoft.com/office/drawing/2014/main" id="{EF574AB8-FA67-6841-815F-020BC196CFE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786170" y="5460558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166" name="Text Placeholder 6">
            <a:extLst>
              <a:ext uri="{FF2B5EF4-FFF2-40B4-BE49-F238E27FC236}">
                <a16:creationId xmlns:a16="http://schemas.microsoft.com/office/drawing/2014/main" id="{0459AF7C-F9C3-8848-B7D8-3D970B0ABB9C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0" y="5813050"/>
            <a:ext cx="9144000" cy="352800"/>
          </a:xfr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ffectLst/>
        </p:spPr>
        <p:txBody>
          <a:bodyPr lIns="432000" rIns="36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b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67" name="Text Placeholder 69">
            <a:extLst>
              <a:ext uri="{FF2B5EF4-FFF2-40B4-BE49-F238E27FC236}">
                <a16:creationId xmlns:a16="http://schemas.microsoft.com/office/drawing/2014/main" id="{A130898E-B3C8-8D4A-86AB-EE7C88D7DE7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86170" y="5813050"/>
            <a:ext cx="929358" cy="352800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accent1"/>
                </a:solidFill>
              </a:defRPr>
            </a:lvl1pPr>
            <a:lvl2pPr marL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BD1BB5F-2891-C741-80FB-ACCBFEFCAA72}"/>
              </a:ext>
            </a:extLst>
          </p:cNvPr>
          <p:cNvSpPr>
            <a:spLocks noGrp="1"/>
          </p:cNvSpPr>
          <p:nvPr>
            <p:ph type="dt" sz="half" idx="13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FD48C64-B26D-4248-ADFF-B57DB1CAC3A7}"/>
              </a:ext>
            </a:extLst>
          </p:cNvPr>
          <p:cNvSpPr>
            <a:spLocks noGrp="1"/>
          </p:cNvSpPr>
          <p:nvPr>
            <p:ph type="ftr" sz="quarter" idx="13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1FDB9A5-CCD3-A540-98D5-77F33D645D45}"/>
              </a:ext>
            </a:extLst>
          </p:cNvPr>
          <p:cNvSpPr>
            <a:spLocks noGrp="1"/>
          </p:cNvSpPr>
          <p:nvPr>
            <p:ph type="sldNum" sz="quarter" idx="13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sz="9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0780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Agenda (Phot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id="{270AAB3A-1F8E-7547-BC5B-D622E7ABEECC}"/>
              </a:ext>
            </a:extLst>
          </p:cNvPr>
          <p:cNvGrpSpPr/>
          <p:nvPr userDrawn="1"/>
        </p:nvGrpSpPr>
        <p:grpSpPr>
          <a:xfrm>
            <a:off x="9399182" y="0"/>
            <a:ext cx="2874210" cy="9929814"/>
            <a:chOff x="9399182" y="0"/>
            <a:chExt cx="2874210" cy="992981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53DAC75-2764-F94B-801B-7E41553AA7A9}"/>
                </a:ext>
              </a:extLst>
            </p:cNvPr>
            <p:cNvSpPr/>
            <p:nvPr userDrawn="1"/>
          </p:nvSpPr>
          <p:spPr>
            <a:xfrm>
              <a:off x="9399182" y="0"/>
              <a:ext cx="2798651" cy="974407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66BA62E-8407-214E-9983-5B95C260B124}"/>
                </a:ext>
              </a:extLst>
            </p:cNvPr>
            <p:cNvSpPr txBox="1"/>
            <p:nvPr userDrawn="1"/>
          </p:nvSpPr>
          <p:spPr>
            <a:xfrm>
              <a:off x="9558507" y="150290"/>
              <a:ext cx="1867499" cy="169277"/>
            </a:xfrm>
            <a:prstGeom prst="rect">
              <a:avLst/>
            </a:prstGeom>
          </p:spPr>
          <p:txBody>
            <a:bodyPr vert="horz" wrap="none" lIns="0" tIns="0" rIns="0" bIns="0" rtlCol="0" anchor="t">
              <a:spAutoFit/>
            </a:bodyPr>
            <a:lstStyle>
              <a:defPPr>
                <a:defRPr lang="en-US"/>
              </a:defPPr>
              <a:lvl1pPr>
                <a:defRPr sz="1100">
                  <a:solidFill>
                    <a:schemeClr val="accent2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OW TO USE THE AGENDA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EC19388-C76B-7448-9EDE-BDA3BAB9D41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558507" y="352907"/>
              <a:ext cx="2639328" cy="0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D14489D-EBF9-F043-8D0D-58D847FBFD92}"/>
                </a:ext>
              </a:extLst>
            </p:cNvPr>
            <p:cNvSpPr/>
            <p:nvPr/>
          </p:nvSpPr>
          <p:spPr>
            <a:xfrm>
              <a:off x="9686427" y="1588636"/>
              <a:ext cx="2453290" cy="406238"/>
            </a:xfrm>
            <a:prstGeom prst="rect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69A9012-D270-2448-A4FD-E180D5741CB9}"/>
                </a:ext>
              </a:extLst>
            </p:cNvPr>
            <p:cNvGrpSpPr/>
            <p:nvPr/>
          </p:nvGrpSpPr>
          <p:grpSpPr>
            <a:xfrm>
              <a:off x="9686426" y="2097613"/>
              <a:ext cx="2284506" cy="249299"/>
              <a:chOff x="9431244" y="2862535"/>
              <a:chExt cx="2284506" cy="249299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5AA31A6C-B76D-D84E-926A-385AA59C712C}"/>
                  </a:ext>
                </a:extLst>
              </p:cNvPr>
              <p:cNvSpPr txBox="1"/>
              <p:nvPr/>
            </p:nvSpPr>
            <p:spPr>
              <a:xfrm>
                <a:off x="9431244" y="2862535"/>
                <a:ext cx="2284506" cy="2492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1">
                  <a:defRPr/>
                </a:pPr>
                <a:r>
                  <a:rPr lang="en-US" dirty="0"/>
                  <a:t>Click the Format Painter button (           ) to copy the style.</a:t>
                </a:r>
              </a:p>
            </p:txBody>
          </p:sp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1CC21A02-B792-AF47-96A4-A59105B117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216812" y="2866153"/>
                <a:ext cx="340854" cy="113618"/>
              </a:xfrm>
              <a:prstGeom prst="rect">
                <a:avLst/>
              </a:prstGeom>
            </p:spPr>
          </p:pic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94CFB75-D1BB-CC4A-B543-DF9749A36F98}"/>
                </a:ext>
              </a:extLst>
            </p:cNvPr>
            <p:cNvSpPr txBox="1"/>
            <p:nvPr/>
          </p:nvSpPr>
          <p:spPr>
            <a:xfrm>
              <a:off x="9686426" y="2398746"/>
              <a:ext cx="2294082" cy="37394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1">
                <a:defRPr/>
              </a:pPr>
              <a:r>
                <a:rPr lang="en-US" dirty="0"/>
                <a:t>Click anywhere on the current agenda item (on the text works here) to apply the highlight style.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3193EDF-0188-094A-8A3E-60EB6775D122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538142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C0A9960-B8B4-3D4C-981C-922D7EC98DE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9521833" y="862246"/>
              <a:ext cx="114706" cy="114706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lang="en-US" sz="5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879CA51-8AA7-5B46-8B51-CCC7D4DEF501}"/>
                </a:ext>
              </a:extLst>
            </p:cNvPr>
            <p:cNvSpPr txBox="1"/>
            <p:nvPr/>
          </p:nvSpPr>
          <p:spPr>
            <a:xfrm>
              <a:off x="9811647" y="1339804"/>
              <a:ext cx="2234098" cy="1938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6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2"/>
              <a:r>
                <a:rPr lang="en-US" sz="700" b="1" dirty="0">
                  <a:solidFill>
                    <a:schemeClr val="bg1">
                      <a:lumMod val="85000"/>
                    </a:schemeClr>
                  </a:solidFill>
                </a:rPr>
                <a:t>Click the element border to select the shape</a:t>
              </a:r>
              <a:r>
                <a:rPr lang="en-US" sz="700" dirty="0">
                  <a:solidFill>
                    <a:schemeClr val="bg1">
                      <a:lumMod val="85000"/>
                    </a:schemeClr>
                  </a:solidFill>
                </a:rPr>
                <a:t>—it won’t work correctly if you have your cursor in the text.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F0D17E0-6EFC-8B4C-BB2F-25990B9D14AE}"/>
                </a:ext>
              </a:extLst>
            </p:cNvPr>
            <p:cNvSpPr txBox="1"/>
            <p:nvPr userDrawn="1"/>
          </p:nvSpPr>
          <p:spPr>
            <a:xfrm>
              <a:off x="9686426" y="513115"/>
              <a:ext cx="2327834" cy="81458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defPPr>
                <a:defRPr lang="en-US"/>
              </a:defPPr>
              <a:lvl1pPr lvl="0">
                <a:spcBef>
                  <a:spcPts val="1000"/>
                </a:spcBef>
                <a:spcAft>
                  <a:spcPts val="300"/>
                </a:spcAft>
                <a:defRPr sz="1050" b="0" cap="none" spc="0" baseline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134938" lvl="1" indent="-131763">
                <a:lnSpc>
                  <a:spcPct val="90000"/>
                </a:lnSpc>
                <a:spcAft>
                  <a:spcPts val="300"/>
                </a:spcAft>
                <a:buFont typeface="Wingdings" pitchFamily="2" charset="2"/>
                <a:buChar char="§"/>
                <a:tabLst/>
                <a:defRPr sz="90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113" lvl="2" indent="0">
                <a:spcBef>
                  <a:spcPts val="300"/>
                </a:spcBef>
                <a:buFont typeface="Wingdings" pitchFamily="2" charset="2"/>
                <a:buNone/>
                <a:tabLst/>
                <a:defRPr sz="800">
                  <a:solidFill>
                    <a:schemeClr val="bg1">
                      <a:lumMod val="85000"/>
                    </a:schemeClr>
                  </a:solidFill>
                </a:defRPr>
              </a:lvl3pPr>
            </a:lstStyle>
            <a:p>
              <a:pPr lvl="0"/>
              <a:r>
                <a:rPr lang="en-US" dirty="0"/>
                <a:t>Enter agenda items as needed.</a:t>
              </a:r>
            </a:p>
            <a:p>
              <a:pPr lvl="0"/>
              <a:r>
                <a:rPr lang="en-US" dirty="0"/>
                <a:t>Apply the highlight marker to the current agenda item.</a:t>
              </a:r>
            </a:p>
            <a:p>
              <a:pPr lvl="1"/>
              <a:r>
                <a:rPr lang="en-US" dirty="0"/>
                <a:t>Select the element below: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B35E7F5-A8FC-E341-928F-8F1C42C01FE4}"/>
                </a:ext>
              </a:extLst>
            </p:cNvPr>
            <p:cNvGrpSpPr/>
            <p:nvPr/>
          </p:nvGrpSpPr>
          <p:grpSpPr>
            <a:xfrm>
              <a:off x="9521833" y="2859865"/>
              <a:ext cx="2545476" cy="898708"/>
              <a:chOff x="9266651" y="2105587"/>
              <a:chExt cx="2545476" cy="898708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CC0F517F-CFE4-1D43-9DEA-FE4CA6FDDFE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266651" y="2124496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3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A403294-57CC-B74C-A9E2-F6DA8B35535D}"/>
                  </a:ext>
                </a:extLst>
              </p:cNvPr>
              <p:cNvSpPr txBox="1"/>
              <p:nvPr/>
            </p:nvSpPr>
            <p:spPr>
              <a:xfrm>
                <a:off x="9431244" y="2105587"/>
                <a:ext cx="2380883" cy="898708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dirty="0"/>
                  <a:t>Duplicate the slide to create the</a:t>
                </a:r>
                <a:br>
                  <a:rPr lang="en-US" dirty="0"/>
                </a:br>
                <a:r>
                  <a:rPr lang="en-US" dirty="0"/>
                  <a:t>other section dividers.</a:t>
                </a:r>
              </a:p>
              <a:p>
                <a:pPr lvl="1"/>
                <a:r>
                  <a:rPr lang="en-US" dirty="0"/>
                  <a:t>Use Format Painter to copy the normal style onto the previous highlighted item.</a:t>
                </a:r>
              </a:p>
              <a:p>
                <a:pPr lvl="1"/>
                <a:r>
                  <a:rPr lang="en-US" dirty="0"/>
                  <a:t>Then repeat step 2 to highlight the new current agenda item.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F7C72B2-FE96-1A47-B6A2-F9EF2CE88FD7}"/>
                </a:ext>
              </a:extLst>
            </p:cNvPr>
            <p:cNvGrpSpPr/>
            <p:nvPr userDrawn="1"/>
          </p:nvGrpSpPr>
          <p:grpSpPr>
            <a:xfrm>
              <a:off x="9518577" y="3853669"/>
              <a:ext cx="2754815" cy="6076145"/>
              <a:chOff x="9266651" y="185338"/>
              <a:chExt cx="2754815" cy="6076145"/>
            </a:xfrm>
          </p:grpSpPr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BDDFA1E5-2D54-1F4E-923A-1EBF3193D53E}"/>
                  </a:ext>
                </a:extLst>
              </p:cNvPr>
              <p:cNvSpPr txBox="1"/>
              <p:nvPr userDrawn="1"/>
            </p:nvSpPr>
            <p:spPr>
              <a:xfrm>
                <a:off x="9303325" y="185338"/>
                <a:ext cx="1644681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 dirty="0">
                    <a:solidFill>
                      <a:schemeClr val="bg1"/>
                    </a:solidFill>
                  </a:rPr>
                  <a:t>HOW TO ADD AN IMAGE</a:t>
                </a:r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0BE3F141-44E1-284B-B8E2-CC13393265B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303325" y="387955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3991E50F-278F-5C43-8750-BC1E56B6BC1D}"/>
                  </a:ext>
                </a:extLst>
              </p:cNvPr>
              <p:cNvSpPr txBox="1"/>
              <p:nvPr userDrawn="1"/>
            </p:nvSpPr>
            <p:spPr>
              <a:xfrm>
                <a:off x="9431244" y="1246265"/>
                <a:ext cx="2297338" cy="27622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b="1" dirty="0"/>
                  <a:t>Method 1: </a:t>
                </a:r>
                <a:r>
                  <a:rPr lang="en-US" sz="600" b="0" dirty="0"/>
                  <a:t>from file browser</a:t>
                </a:r>
              </a:p>
              <a:p>
                <a:pPr lvl="1">
                  <a:buNone/>
                </a:pPr>
                <a:r>
                  <a:rPr lang="en-US" sz="1050" dirty="0"/>
                  <a:t>Drag the image onto the slide.</a:t>
                </a:r>
              </a:p>
            </p:txBody>
          </p: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83F30A99-B1CD-AB4C-82B9-107FF3C5DE2E}"/>
                  </a:ext>
                </a:extLst>
              </p:cNvPr>
              <p:cNvGrpSpPr/>
              <p:nvPr userDrawn="1"/>
            </p:nvGrpSpPr>
            <p:grpSpPr>
              <a:xfrm>
                <a:off x="9286315" y="4787849"/>
                <a:ext cx="2735151" cy="1473634"/>
                <a:chOff x="9296567" y="4910412"/>
                <a:chExt cx="2735151" cy="1473634"/>
              </a:xfrm>
            </p:grpSpPr>
            <p:sp>
              <p:nvSpPr>
                <p:cNvPr id="100" name="Rectangle 99">
                  <a:extLst>
                    <a:ext uri="{FF2B5EF4-FFF2-40B4-BE49-F238E27FC236}">
                      <a16:creationId xmlns:a16="http://schemas.microsoft.com/office/drawing/2014/main" id="{F72F3191-3FD2-CD4E-BA75-7160E4514679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2"/>
                  <a:ext cx="2735151" cy="1473634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1" name="TextBox 100">
                  <a:extLst>
                    <a:ext uri="{FF2B5EF4-FFF2-40B4-BE49-F238E27FC236}">
                      <a16:creationId xmlns:a16="http://schemas.microsoft.com/office/drawing/2014/main" id="{324B7A18-40EA-AC4F-814A-1584DE95586F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hange Image</a:t>
                  </a:r>
                </a:p>
              </p:txBody>
            </p:sp>
            <p:pic>
              <p:nvPicPr>
                <p:cNvPr id="102" name="Graphic 101">
                  <a:extLst>
                    <a:ext uri="{FF2B5EF4-FFF2-40B4-BE49-F238E27FC236}">
                      <a16:creationId xmlns:a16="http://schemas.microsoft.com/office/drawing/2014/main" id="{824C424F-47CC-5B4E-9503-43961DF4F9B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103" name="TextBox 102">
                  <a:extLst>
                    <a:ext uri="{FF2B5EF4-FFF2-40B4-BE49-F238E27FC236}">
                      <a16:creationId xmlns:a16="http://schemas.microsoft.com/office/drawing/2014/main" id="{960DA147-99F9-6D46-940D-A010FCA6A940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619194"/>
                  <a:ext cx="2422981" cy="3739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134938" lvl="1" indent="-131763" algn="l" defTabSz="914400" rtl="0" eaLnBrk="1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Deleting the image may bring the image placeholder to the top layer. Right-click on the placeholder and choose “Send to Back”.</a:t>
                  </a:r>
                </a:p>
              </p:txBody>
            </p:sp>
            <p:sp>
              <p:nvSpPr>
                <p:cNvPr id="104" name="TextBox 103">
                  <a:extLst>
                    <a:ext uri="{FF2B5EF4-FFF2-40B4-BE49-F238E27FC236}">
                      <a16:creationId xmlns:a16="http://schemas.microsoft.com/office/drawing/2014/main" id="{081D9AF4-EBB7-BF4C-B301-A60743D4AF62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422981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First, delete the existing image to reset the photo placeholder functionality.</a:t>
                  </a:r>
                </a:p>
              </p:txBody>
            </p:sp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F85957B1-8118-9A45-9222-78DA6A1E692E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6076239"/>
                  <a:ext cx="2422981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marL="0" algn="l" defTabSz="914400" rtl="0" eaLnBrk="1" latinLnBrk="0" hangingPunct="1">
                    <a:spcBef>
                      <a:spcPts val="200"/>
                    </a:spcBef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rPr>
                    <a:t>You can now add a new image as normal.</a:t>
                  </a:r>
                </a:p>
              </p:txBody>
            </p:sp>
          </p:grp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2451E775-897C-3240-87F1-FE1B59EC3995}"/>
                  </a:ext>
                </a:extLst>
              </p:cNvPr>
              <p:cNvGrpSpPr/>
              <p:nvPr userDrawn="1"/>
            </p:nvGrpSpPr>
            <p:grpSpPr>
              <a:xfrm>
                <a:off x="9286315" y="3431192"/>
                <a:ext cx="2735151" cy="1280928"/>
                <a:chOff x="9286315" y="6976989"/>
                <a:chExt cx="2735151" cy="1280928"/>
              </a:xfrm>
            </p:grpSpPr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id="{BB7CAF8A-39AD-C546-8915-185237EB5B15}"/>
                    </a:ext>
                  </a:extLst>
                </p:cNvPr>
                <p:cNvSpPr/>
                <p:nvPr userDrawn="1"/>
              </p:nvSpPr>
              <p:spPr>
                <a:xfrm>
                  <a:off x="9286315" y="6976989"/>
                  <a:ext cx="2735151" cy="1280928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C07F080B-FE36-C347-BD87-97C6AD55ADFD}"/>
                    </a:ext>
                  </a:extLst>
                </p:cNvPr>
                <p:cNvSpPr txBox="1"/>
                <p:nvPr userDrawn="1"/>
              </p:nvSpPr>
              <p:spPr>
                <a:xfrm>
                  <a:off x="9652506" y="7105788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Crop Image</a:t>
                  </a:r>
                </a:p>
              </p:txBody>
            </p:sp>
            <p:pic>
              <p:nvPicPr>
                <p:cNvPr id="95" name="Graphic 94">
                  <a:extLst>
                    <a:ext uri="{FF2B5EF4-FFF2-40B4-BE49-F238E27FC236}">
                      <a16:creationId xmlns:a16="http://schemas.microsoft.com/office/drawing/2014/main" id="{AC53915D-6A22-0A40-8A2B-4B3226EA5B9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46538" y="7116071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EE04E77D-44DF-3D4F-8CB4-3D9B1228C4A8}"/>
                    </a:ext>
                  </a:extLst>
                </p:cNvPr>
                <p:cNvSpPr txBox="1"/>
                <p:nvPr userDrawn="1"/>
              </p:nvSpPr>
              <p:spPr>
                <a:xfrm>
                  <a:off x="9446538" y="7369972"/>
                  <a:ext cx="2384904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Right-click on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Choose “Crop” from the menu. (       )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Adjust the size and position of the image.</a:t>
                  </a:r>
                </a:p>
                <a:p>
                  <a:pPr lvl="1">
                    <a:defRPr/>
                  </a:pPr>
                  <a:r>
                    <a:rPr lang="en-US" sz="900" kern="1200" dirty="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cs typeface="Arial" charset="0"/>
                    </a:rPr>
                    <a:t>Press Esc or click outside the image area to exit the cropping mode.</a:t>
                  </a:r>
                </a:p>
              </p:txBody>
            </p:sp>
            <p:pic>
              <p:nvPicPr>
                <p:cNvPr id="97" name="Picture 96">
                  <a:extLst>
                    <a:ext uri="{FF2B5EF4-FFF2-40B4-BE49-F238E27FC236}">
                      <a16:creationId xmlns:a16="http://schemas.microsoft.com/office/drawing/2014/main" id="{5E0CC428-D7B2-C14A-B7B1-DA955AE9FA5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5"/>
                <a:srcRect l="33684" t="12097" r="43371" b="20368"/>
                <a:stretch/>
              </p:blipFill>
              <p:spPr>
                <a:xfrm>
                  <a:off x="11243541" y="7454405"/>
                  <a:ext cx="136897" cy="213643"/>
                </a:xfrm>
                <a:prstGeom prst="rect">
                  <a:avLst/>
                </a:prstGeom>
                <a:ln w="19050">
                  <a:solidFill>
                    <a:schemeClr val="accent3">
                      <a:lumMod val="60000"/>
                      <a:lumOff val="40000"/>
                    </a:schemeClr>
                  </a:solidFill>
                </a:ln>
              </p:spPr>
            </p:pic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F58B63AF-D922-CD49-BC43-4169636672FA}"/>
                  </a:ext>
                </a:extLst>
              </p:cNvPr>
              <p:cNvGrpSpPr/>
              <p:nvPr userDrawn="1"/>
            </p:nvGrpSpPr>
            <p:grpSpPr>
              <a:xfrm>
                <a:off x="9266651" y="510458"/>
                <a:ext cx="2617883" cy="651460"/>
                <a:chOff x="12352022" y="513115"/>
                <a:chExt cx="2617883" cy="651460"/>
              </a:xfrm>
            </p:grpSpPr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FC2CEFD3-F990-E046-992D-8FEABF5829F8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538142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91" name="TextBox 90">
                  <a:extLst>
                    <a:ext uri="{FF2B5EF4-FFF2-40B4-BE49-F238E27FC236}">
                      <a16:creationId xmlns:a16="http://schemas.microsoft.com/office/drawing/2014/main" id="{7F412C02-87CB-E340-8BE6-07A1D513485E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12352022" y="1033696"/>
                  <a:ext cx="114706" cy="114706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 dirty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798508BC-3719-F043-963D-F484982CF8AE}"/>
                    </a:ext>
                  </a:extLst>
                </p:cNvPr>
                <p:cNvSpPr txBox="1"/>
                <p:nvPr userDrawn="1"/>
              </p:nvSpPr>
              <p:spPr>
                <a:xfrm>
                  <a:off x="12516615" y="513115"/>
                  <a:ext cx="2453290" cy="65146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0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0"/>
                  <a:r>
                    <a:rPr lang="en-US" dirty="0"/>
                    <a:t>Select and download images from the Marketing Resource Database.</a:t>
                  </a:r>
                </a:p>
                <a:p>
                  <a:pPr lvl="0"/>
                  <a:r>
                    <a:rPr lang="en-US" dirty="0"/>
                    <a:t>Add the image to the placeholder.</a:t>
                  </a:r>
                </a:p>
              </p:txBody>
            </p:sp>
          </p:grp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74207B05-5316-FE4E-BDED-E91DB8AF1403}"/>
                  </a:ext>
                </a:extLst>
              </p:cNvPr>
              <p:cNvSpPr txBox="1"/>
              <p:nvPr userDrawn="1"/>
            </p:nvSpPr>
            <p:spPr>
              <a:xfrm>
                <a:off x="9419085" y="1529570"/>
                <a:ext cx="2374733" cy="2908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If there are multiple image placeholders on the slide, select the intended placeholder before dragging in the image to let PowerPoint know where you want it.</a:t>
                </a: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F8455CF3-6D2B-5345-A527-CD6EF4176CE7}"/>
                  </a:ext>
                </a:extLst>
              </p:cNvPr>
              <p:cNvSpPr txBox="1"/>
              <p:nvPr userDrawn="1"/>
            </p:nvSpPr>
            <p:spPr>
              <a:xfrm>
                <a:off x="9431244" y="1944827"/>
                <a:ext cx="2297338" cy="605550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2: </a:t>
                </a:r>
                <a:r>
                  <a:rPr lang="en-US" sz="600" b="0" dirty="0"/>
                  <a:t>Paste from clipboard</a:t>
                </a:r>
              </a:p>
              <a:p>
                <a:pPr lvl="1">
                  <a:buNone/>
                </a:pPr>
                <a:r>
                  <a:rPr lang="en-US" sz="1050" dirty="0"/>
                  <a:t>Select the image placeholder.</a:t>
                </a:r>
              </a:p>
              <a:p>
                <a:pPr lvl="1">
                  <a:buNone/>
                </a:pPr>
                <a:r>
                  <a:rPr lang="en-US" sz="1050" dirty="0"/>
                  <a:t>Right-click or use keyboard shortcuts to paste the image.</a:t>
                </a: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0E69DB1A-1E4B-7947-AEE8-1AD1A0CEE871}"/>
                  </a:ext>
                </a:extLst>
              </p:cNvPr>
              <p:cNvSpPr txBox="1"/>
              <p:nvPr userDrawn="1"/>
            </p:nvSpPr>
            <p:spPr>
              <a:xfrm>
                <a:off x="9431244" y="2664917"/>
                <a:ext cx="2297338" cy="421654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900"/>
                  </a:spcBef>
                  <a:spcAft>
                    <a:spcPts val="300"/>
                  </a:spcAft>
                  <a:defRPr sz="800" b="1" cap="all" spc="2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0" lvl="1" indent="0">
                  <a:lnSpc>
                    <a:spcPct val="90000"/>
                  </a:lnSpc>
                  <a:spcAft>
                    <a:spcPts val="300"/>
                  </a:spcAft>
                  <a:tabLst/>
                  <a:defRPr sz="12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marL="0" lvl="0" indent="0">
                  <a:buFont typeface="Arial" panose="020B0604020202020204" pitchFamily="34" charset="0"/>
                  <a:buNone/>
                </a:pPr>
                <a:r>
                  <a:rPr lang="en-US" sz="600" dirty="0"/>
                  <a:t>Method 3: </a:t>
                </a:r>
                <a:r>
                  <a:rPr lang="en-US" sz="600" b="0" dirty="0"/>
                  <a:t>Placeholder icon</a:t>
                </a:r>
              </a:p>
              <a:p>
                <a:pPr lvl="1">
                  <a:buNone/>
                </a:pPr>
                <a:r>
                  <a:rPr lang="en-US" sz="1050" dirty="0"/>
                  <a:t>Click the image icon inside the placeholder to browse for an image.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328EEF89-7454-7C46-865B-2C0F34935AD3}"/>
                  </a:ext>
                </a:extLst>
              </p:cNvPr>
              <p:cNvSpPr txBox="1"/>
              <p:nvPr userDrawn="1"/>
            </p:nvSpPr>
            <p:spPr>
              <a:xfrm>
                <a:off x="9419085" y="3095480"/>
                <a:ext cx="2374733" cy="19389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6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2"/>
                <a:r>
                  <a:rPr lang="en-US" sz="700" dirty="0"/>
                  <a:t>Note: This icon may be covered by another element.</a:t>
                </a:r>
                <a:br>
                  <a:rPr lang="en-US" sz="700" dirty="0"/>
                </a:br>
                <a:r>
                  <a:rPr lang="en-US" sz="700" dirty="0"/>
                  <a:t>In this case use one of the other methods.</a:t>
                </a:r>
              </a:p>
            </p:txBody>
          </p:sp>
        </p:grpSp>
      </p:grp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846FAB7A-A675-6C4B-BF10-A9B8CF7F7C9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1112838"/>
            <a:ext cx="9144001" cy="5745162"/>
          </a:xfrm>
          <a:custGeom>
            <a:avLst/>
            <a:gdLst>
              <a:gd name="connsiteX0" fmla="*/ 8545320 w 9144001"/>
              <a:gd name="connsiteY0" fmla="*/ 5464436 h 5745162"/>
              <a:gd name="connsiteX1" fmla="*/ 8554630 w 9144001"/>
              <a:gd name="connsiteY1" fmla="*/ 5464436 h 5745162"/>
              <a:gd name="connsiteX2" fmla="*/ 8572756 w 9144001"/>
              <a:gd name="connsiteY2" fmla="*/ 5479725 h 5745162"/>
              <a:gd name="connsiteX3" fmla="*/ 8552840 w 9144001"/>
              <a:gd name="connsiteY3" fmla="*/ 5495748 h 5745162"/>
              <a:gd name="connsiteX4" fmla="*/ 8552840 w 9144001"/>
              <a:gd name="connsiteY4" fmla="*/ 5495635 h 5745162"/>
              <a:gd name="connsiteX5" fmla="*/ 8545320 w 9144001"/>
              <a:gd name="connsiteY5" fmla="*/ 5495635 h 5745162"/>
              <a:gd name="connsiteX6" fmla="*/ 8440531 w 9144001"/>
              <a:gd name="connsiteY6" fmla="*/ 5463326 h 5745162"/>
              <a:gd name="connsiteX7" fmla="*/ 8450869 w 9144001"/>
              <a:gd name="connsiteY7" fmla="*/ 5463326 h 5745162"/>
              <a:gd name="connsiteX8" fmla="*/ 8486566 w 9144001"/>
              <a:gd name="connsiteY8" fmla="*/ 5494375 h 5745162"/>
              <a:gd name="connsiteX9" fmla="*/ 8452487 w 9144001"/>
              <a:gd name="connsiteY9" fmla="*/ 5527456 h 5745162"/>
              <a:gd name="connsiteX10" fmla="*/ 8440531 w 9144001"/>
              <a:gd name="connsiteY10" fmla="*/ 5527456 h 5745162"/>
              <a:gd name="connsiteX11" fmla="*/ 8359312 w 9144001"/>
              <a:gd name="connsiteY11" fmla="*/ 5441906 h 5745162"/>
              <a:gd name="connsiteX12" fmla="*/ 8357846 w 9144001"/>
              <a:gd name="connsiteY12" fmla="*/ 5445009 h 5745162"/>
              <a:gd name="connsiteX13" fmla="*/ 8338065 w 9144001"/>
              <a:gd name="connsiteY13" fmla="*/ 5486815 h 5745162"/>
              <a:gd name="connsiteX14" fmla="*/ 8338065 w 9144001"/>
              <a:gd name="connsiteY14" fmla="*/ 5548726 h 5745162"/>
              <a:gd name="connsiteX15" fmla="*/ 8406528 w 9144001"/>
              <a:gd name="connsiteY15" fmla="*/ 5548726 h 5745162"/>
              <a:gd name="connsiteX16" fmla="*/ 8406528 w 9144001"/>
              <a:gd name="connsiteY16" fmla="*/ 5526139 h 5745162"/>
              <a:gd name="connsiteX17" fmla="*/ 8363158 w 9144001"/>
              <a:gd name="connsiteY17" fmla="*/ 5526139 h 5745162"/>
              <a:gd name="connsiteX18" fmla="*/ 8363158 w 9144001"/>
              <a:gd name="connsiteY18" fmla="*/ 5505302 h 5745162"/>
              <a:gd name="connsiteX19" fmla="*/ 8402682 w 9144001"/>
              <a:gd name="connsiteY19" fmla="*/ 5505302 h 5745162"/>
              <a:gd name="connsiteX20" fmla="*/ 8402682 w 9144001"/>
              <a:gd name="connsiteY20" fmla="*/ 5483731 h 5745162"/>
              <a:gd name="connsiteX21" fmla="*/ 8363158 w 9144001"/>
              <a:gd name="connsiteY21" fmla="*/ 5483731 h 5745162"/>
              <a:gd name="connsiteX22" fmla="*/ 8363158 w 9144001"/>
              <a:gd name="connsiteY22" fmla="*/ 5464643 h 5745162"/>
              <a:gd name="connsiteX23" fmla="*/ 8406528 w 9144001"/>
              <a:gd name="connsiteY23" fmla="*/ 5464643 h 5745162"/>
              <a:gd name="connsiteX24" fmla="*/ 8406528 w 9144001"/>
              <a:gd name="connsiteY24" fmla="*/ 5441906 h 5745162"/>
              <a:gd name="connsiteX25" fmla="*/ 8245575 w 9144001"/>
              <a:gd name="connsiteY25" fmla="*/ 5441887 h 5745162"/>
              <a:gd name="connsiteX26" fmla="*/ 8262082 w 9144001"/>
              <a:gd name="connsiteY26" fmla="*/ 5476284 h 5745162"/>
              <a:gd name="connsiteX27" fmla="*/ 8288526 w 9144001"/>
              <a:gd name="connsiteY27" fmla="*/ 5476284 h 5745162"/>
              <a:gd name="connsiteX28" fmla="*/ 8273962 w 9144001"/>
              <a:gd name="connsiteY28" fmla="*/ 5441887 h 5745162"/>
              <a:gd name="connsiteX29" fmla="*/ 8520246 w 9144001"/>
              <a:gd name="connsiteY29" fmla="*/ 5441868 h 5745162"/>
              <a:gd name="connsiteX30" fmla="*/ 8520246 w 9144001"/>
              <a:gd name="connsiteY30" fmla="*/ 5548725 h 5745162"/>
              <a:gd name="connsiteX31" fmla="*/ 8545320 w 9144001"/>
              <a:gd name="connsiteY31" fmla="*/ 5548725 h 5745162"/>
              <a:gd name="connsiteX32" fmla="*/ 8545320 w 9144001"/>
              <a:gd name="connsiteY32" fmla="*/ 5517093 h 5745162"/>
              <a:gd name="connsiteX33" fmla="*/ 8554630 w 9144001"/>
              <a:gd name="connsiteY33" fmla="*/ 5517093 h 5745162"/>
              <a:gd name="connsiteX34" fmla="*/ 8598420 w 9144001"/>
              <a:gd name="connsiteY34" fmla="*/ 5479180 h 5745162"/>
              <a:gd name="connsiteX35" fmla="*/ 8550346 w 9144001"/>
              <a:gd name="connsiteY35" fmla="*/ 5441868 h 5745162"/>
              <a:gd name="connsiteX36" fmla="*/ 8415495 w 9144001"/>
              <a:gd name="connsiteY36" fmla="*/ 5441868 h 5745162"/>
              <a:gd name="connsiteX37" fmla="*/ 8415495 w 9144001"/>
              <a:gd name="connsiteY37" fmla="*/ 5548631 h 5745162"/>
              <a:gd name="connsiteX38" fmla="*/ 8448546 w 9144001"/>
              <a:gd name="connsiteY38" fmla="*/ 5548744 h 5745162"/>
              <a:gd name="connsiteX39" fmla="*/ 8513278 w 9144001"/>
              <a:gd name="connsiteY39" fmla="*/ 5494375 h 5745162"/>
              <a:gd name="connsiteX40" fmla="*/ 8447461 w 9144001"/>
              <a:gd name="connsiteY40" fmla="*/ 5441906 h 5745162"/>
              <a:gd name="connsiteX41" fmla="*/ 8447499 w 9144001"/>
              <a:gd name="connsiteY41" fmla="*/ 5441868 h 5745162"/>
              <a:gd name="connsiteX42" fmla="*/ 8415495 w 9144001"/>
              <a:gd name="connsiteY42" fmla="*/ 5441868 h 5745162"/>
              <a:gd name="connsiteX43" fmla="*/ 8323900 w 9144001"/>
              <a:gd name="connsiteY43" fmla="*/ 5441868 h 5745162"/>
              <a:gd name="connsiteX44" fmla="*/ 8298693 w 9144001"/>
              <a:gd name="connsiteY44" fmla="*/ 5499810 h 5745162"/>
              <a:gd name="connsiteX45" fmla="*/ 8291858 w 9144001"/>
              <a:gd name="connsiteY45" fmla="*/ 5483806 h 5745162"/>
              <a:gd name="connsiteX46" fmla="*/ 8265623 w 9144001"/>
              <a:gd name="connsiteY46" fmla="*/ 5483806 h 5745162"/>
              <a:gd name="connsiteX47" fmla="*/ 8296942 w 9144001"/>
              <a:gd name="connsiteY47" fmla="*/ 5549139 h 5745162"/>
              <a:gd name="connsiteX48" fmla="*/ 8299855 w 9144001"/>
              <a:gd name="connsiteY48" fmla="*/ 5549139 h 5745162"/>
              <a:gd name="connsiteX49" fmla="*/ 8350593 w 9144001"/>
              <a:gd name="connsiteY49" fmla="*/ 5441868 h 5745162"/>
              <a:gd name="connsiteX50" fmla="*/ 8704282 w 9144001"/>
              <a:gd name="connsiteY50" fmla="*/ 5403309 h 5745162"/>
              <a:gd name="connsiteX51" fmla="*/ 8704282 w 9144001"/>
              <a:gd name="connsiteY51" fmla="*/ 5577934 h 5745162"/>
              <a:gd name="connsiteX52" fmla="*/ 8723671 w 9144001"/>
              <a:gd name="connsiteY52" fmla="*/ 5577934 h 5745162"/>
              <a:gd name="connsiteX53" fmla="*/ 8723671 w 9144001"/>
              <a:gd name="connsiteY53" fmla="*/ 5403309 h 5745162"/>
              <a:gd name="connsiteX54" fmla="*/ 8950030 w 9144001"/>
              <a:gd name="connsiteY54" fmla="*/ 0 h 5745162"/>
              <a:gd name="connsiteX55" fmla="*/ 9144001 w 9144001"/>
              <a:gd name="connsiteY55" fmla="*/ 0 h 5745162"/>
              <a:gd name="connsiteX56" fmla="*/ 9144001 w 9144001"/>
              <a:gd name="connsiteY56" fmla="*/ 5745161 h 5745162"/>
              <a:gd name="connsiteX57" fmla="*/ 9144001 w 9144001"/>
              <a:gd name="connsiteY57" fmla="*/ 5745162 h 5745162"/>
              <a:gd name="connsiteX58" fmla="*/ 0 w 9144001"/>
              <a:gd name="connsiteY58" fmla="*/ 5745162 h 5745162"/>
              <a:gd name="connsiteX59" fmla="*/ 0 w 9144001"/>
              <a:gd name="connsiteY59" fmla="*/ 32567 h 5745162"/>
              <a:gd name="connsiteX60" fmla="*/ 8313 w 9144001"/>
              <a:gd name="connsiteY60" fmla="*/ 32567 h 5745162"/>
              <a:gd name="connsiteX61" fmla="*/ 8313 w 9144001"/>
              <a:gd name="connsiteY61" fmla="*/ 1 h 5745162"/>
              <a:gd name="connsiteX62" fmla="*/ 8950030 w 9144001"/>
              <a:gd name="connsiteY62" fmla="*/ 1 h 5745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9144001" h="5745162">
                <a:moveTo>
                  <a:pt x="8545320" y="5464436"/>
                </a:moveTo>
                <a:lnTo>
                  <a:pt x="8554630" y="5464436"/>
                </a:lnTo>
                <a:cubicBezTo>
                  <a:pt x="8567006" y="5464436"/>
                  <a:pt x="8572756" y="5471131"/>
                  <a:pt x="8572756" y="5479725"/>
                </a:cubicBezTo>
                <a:cubicBezTo>
                  <a:pt x="8572756" y="5490069"/>
                  <a:pt x="8566130" y="5495748"/>
                  <a:pt x="8552840" y="5495748"/>
                </a:cubicBezTo>
                <a:lnTo>
                  <a:pt x="8552840" y="5495635"/>
                </a:lnTo>
                <a:lnTo>
                  <a:pt x="8545320" y="5495635"/>
                </a:lnTo>
                <a:close/>
                <a:moveTo>
                  <a:pt x="8440531" y="5463326"/>
                </a:moveTo>
                <a:lnTo>
                  <a:pt x="8450869" y="5463326"/>
                </a:lnTo>
                <a:cubicBezTo>
                  <a:pt x="8474172" y="5463326"/>
                  <a:pt x="8486566" y="5474986"/>
                  <a:pt x="8486566" y="5494375"/>
                </a:cubicBezTo>
                <a:cubicBezTo>
                  <a:pt x="8486566" y="5514348"/>
                  <a:pt x="8476095" y="5527456"/>
                  <a:pt x="8452487" y="5527456"/>
                </a:cubicBezTo>
                <a:lnTo>
                  <a:pt x="8440531" y="5527456"/>
                </a:lnTo>
                <a:close/>
                <a:moveTo>
                  <a:pt x="8359312" y="5441906"/>
                </a:moveTo>
                <a:lnTo>
                  <a:pt x="8357846" y="5445009"/>
                </a:lnTo>
                <a:lnTo>
                  <a:pt x="8338065" y="5486815"/>
                </a:lnTo>
                <a:lnTo>
                  <a:pt x="8338065" y="5548726"/>
                </a:lnTo>
                <a:lnTo>
                  <a:pt x="8406528" y="5548726"/>
                </a:lnTo>
                <a:lnTo>
                  <a:pt x="8406528" y="5526139"/>
                </a:lnTo>
                <a:lnTo>
                  <a:pt x="8363158" y="5526139"/>
                </a:lnTo>
                <a:lnTo>
                  <a:pt x="8363158" y="5505302"/>
                </a:lnTo>
                <a:lnTo>
                  <a:pt x="8402682" y="5505302"/>
                </a:lnTo>
                <a:lnTo>
                  <a:pt x="8402682" y="5483731"/>
                </a:lnTo>
                <a:lnTo>
                  <a:pt x="8363158" y="5483731"/>
                </a:lnTo>
                <a:lnTo>
                  <a:pt x="8363158" y="5464643"/>
                </a:lnTo>
                <a:lnTo>
                  <a:pt x="8406528" y="5464643"/>
                </a:lnTo>
                <a:lnTo>
                  <a:pt x="8406528" y="5441906"/>
                </a:lnTo>
                <a:close/>
                <a:moveTo>
                  <a:pt x="8245575" y="5441887"/>
                </a:moveTo>
                <a:lnTo>
                  <a:pt x="8262082" y="5476284"/>
                </a:lnTo>
                <a:lnTo>
                  <a:pt x="8288526" y="5476284"/>
                </a:lnTo>
                <a:lnTo>
                  <a:pt x="8273962" y="5441887"/>
                </a:lnTo>
                <a:close/>
                <a:moveTo>
                  <a:pt x="8520246" y="5441868"/>
                </a:moveTo>
                <a:lnTo>
                  <a:pt x="8520246" y="5548725"/>
                </a:lnTo>
                <a:lnTo>
                  <a:pt x="8545320" y="5548725"/>
                </a:lnTo>
                <a:lnTo>
                  <a:pt x="8545320" y="5517093"/>
                </a:lnTo>
                <a:lnTo>
                  <a:pt x="8554630" y="5517093"/>
                </a:lnTo>
                <a:cubicBezTo>
                  <a:pt x="8583189" y="5517093"/>
                  <a:pt x="8598420" y="5501202"/>
                  <a:pt x="8598420" y="5479180"/>
                </a:cubicBezTo>
                <a:cubicBezTo>
                  <a:pt x="8598439" y="5457647"/>
                  <a:pt x="8581628" y="5441868"/>
                  <a:pt x="8550346" y="5441868"/>
                </a:cubicBezTo>
                <a:close/>
                <a:moveTo>
                  <a:pt x="8415495" y="5441868"/>
                </a:moveTo>
                <a:lnTo>
                  <a:pt x="8415495" y="5548631"/>
                </a:lnTo>
                <a:cubicBezTo>
                  <a:pt x="8415495" y="5548631"/>
                  <a:pt x="8435866" y="5548744"/>
                  <a:pt x="8448546" y="5548744"/>
                </a:cubicBezTo>
                <a:cubicBezTo>
                  <a:pt x="8493382" y="5548744"/>
                  <a:pt x="8513278" y="5525857"/>
                  <a:pt x="8513278" y="5494375"/>
                </a:cubicBezTo>
                <a:cubicBezTo>
                  <a:pt x="8513278" y="5464285"/>
                  <a:pt x="8492335" y="5441906"/>
                  <a:pt x="8447461" y="5441906"/>
                </a:cubicBezTo>
                <a:lnTo>
                  <a:pt x="8447499" y="5441868"/>
                </a:lnTo>
                <a:cubicBezTo>
                  <a:pt x="8436742" y="5441868"/>
                  <a:pt x="8415495" y="5441868"/>
                  <a:pt x="8415495" y="5441868"/>
                </a:cubicBezTo>
                <a:close/>
                <a:moveTo>
                  <a:pt x="8323900" y="5441868"/>
                </a:moveTo>
                <a:lnTo>
                  <a:pt x="8298693" y="5499810"/>
                </a:lnTo>
                <a:lnTo>
                  <a:pt x="8291858" y="5483806"/>
                </a:lnTo>
                <a:lnTo>
                  <a:pt x="8265623" y="5483806"/>
                </a:lnTo>
                <a:lnTo>
                  <a:pt x="8296942" y="5549139"/>
                </a:lnTo>
                <a:lnTo>
                  <a:pt x="8299855" y="5549139"/>
                </a:lnTo>
                <a:lnTo>
                  <a:pt x="8350593" y="5441868"/>
                </a:lnTo>
                <a:close/>
                <a:moveTo>
                  <a:pt x="8704282" y="5403309"/>
                </a:moveTo>
                <a:lnTo>
                  <a:pt x="8704282" y="5577934"/>
                </a:lnTo>
                <a:lnTo>
                  <a:pt x="8723671" y="5577934"/>
                </a:lnTo>
                <a:lnTo>
                  <a:pt x="8723671" y="5403309"/>
                </a:lnTo>
                <a:close/>
                <a:moveTo>
                  <a:pt x="8950030" y="0"/>
                </a:moveTo>
                <a:lnTo>
                  <a:pt x="9144001" y="0"/>
                </a:lnTo>
                <a:lnTo>
                  <a:pt x="9144001" y="5745161"/>
                </a:lnTo>
                <a:lnTo>
                  <a:pt x="9144001" y="5745162"/>
                </a:lnTo>
                <a:lnTo>
                  <a:pt x="0" y="5745162"/>
                </a:lnTo>
                <a:lnTo>
                  <a:pt x="0" y="32567"/>
                </a:lnTo>
                <a:lnTo>
                  <a:pt x="8313" y="32567"/>
                </a:lnTo>
                <a:lnTo>
                  <a:pt x="8313" y="1"/>
                </a:lnTo>
                <a:lnTo>
                  <a:pt x="8950030" y="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rIns="432000" anchor="ctr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Drag image onto slide to add photo</a:t>
            </a:r>
          </a:p>
        </p:txBody>
      </p:sp>
      <p:sp>
        <p:nvSpPr>
          <p:cNvPr id="71" name="Subtitle 70">
            <a:extLst>
              <a:ext uri="{FF2B5EF4-FFF2-40B4-BE49-F238E27FC236}">
                <a16:creationId xmlns:a16="http://schemas.microsoft.com/office/drawing/2014/main" id="{2902DD29-5760-7741-8B06-89111BC5AEA1}"/>
              </a:ext>
            </a:extLst>
          </p:cNvPr>
          <p:cNvSpPr>
            <a:spLocks noGrp="1"/>
          </p:cNvSpPr>
          <p:nvPr>
            <p:ph type="subTitle" sz="quarter" idx="100" hasCustomPrompt="1"/>
          </p:nvPr>
        </p:nvSpPr>
        <p:spPr>
          <a:xfrm>
            <a:off x="-1" y="1112839"/>
            <a:ext cx="7256524" cy="5745162"/>
          </a:xfrm>
          <a:custGeom>
            <a:avLst/>
            <a:gdLst>
              <a:gd name="connsiteX0" fmla="*/ 363188 w 7217022"/>
              <a:gd name="connsiteY0" fmla="*/ 0 h 5713887"/>
              <a:gd name="connsiteX1" fmla="*/ 4505496 w 7217022"/>
              <a:gd name="connsiteY1" fmla="*/ 0 h 5713887"/>
              <a:gd name="connsiteX2" fmla="*/ 7217022 w 7217022"/>
              <a:gd name="connsiteY2" fmla="*/ 5713887 h 5713887"/>
              <a:gd name="connsiteX3" fmla="*/ 1311018 w 7217022"/>
              <a:gd name="connsiteY3" fmla="*/ 5713887 h 5713887"/>
              <a:gd name="connsiteX4" fmla="*/ 363188 w 7217022"/>
              <a:gd name="connsiteY4" fmla="*/ 5713887 h 5713887"/>
              <a:gd name="connsiteX5" fmla="*/ 0 w 7217022"/>
              <a:gd name="connsiteY5" fmla="*/ 5713887 h 5713887"/>
              <a:gd name="connsiteX6" fmla="*/ 0 w 7217022"/>
              <a:gd name="connsiteY6" fmla="*/ 5186837 h 5713887"/>
              <a:gd name="connsiteX7" fmla="*/ 0 w 7217022"/>
              <a:gd name="connsiteY7" fmla="*/ 4697887 h 5713887"/>
              <a:gd name="connsiteX8" fmla="*/ 0 w 7217022"/>
              <a:gd name="connsiteY8" fmla="*/ 1293 h 5713887"/>
              <a:gd name="connsiteX9" fmla="*/ 363188 w 7217022"/>
              <a:gd name="connsiteY9" fmla="*/ 1293 h 5713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17022" h="5713887">
                <a:moveTo>
                  <a:pt x="363188" y="0"/>
                </a:moveTo>
                <a:lnTo>
                  <a:pt x="4505496" y="0"/>
                </a:lnTo>
                <a:lnTo>
                  <a:pt x="7217022" y="5713887"/>
                </a:lnTo>
                <a:lnTo>
                  <a:pt x="1311018" y="5713887"/>
                </a:lnTo>
                <a:lnTo>
                  <a:pt x="363188" y="5713887"/>
                </a:lnTo>
                <a:lnTo>
                  <a:pt x="0" y="5713887"/>
                </a:lnTo>
                <a:lnTo>
                  <a:pt x="0" y="5186837"/>
                </a:lnTo>
                <a:lnTo>
                  <a:pt x="0" y="4697887"/>
                </a:lnTo>
                <a:lnTo>
                  <a:pt x="0" y="1293"/>
                </a:lnTo>
                <a:lnTo>
                  <a:pt x="363188" y="1293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  <a:ln>
            <a:solidFill>
              <a:schemeClr val="accent1">
                <a:alpha val="0"/>
              </a:schemeClr>
            </a:solidFill>
          </a:ln>
        </p:spPr>
        <p:txBody>
          <a:bodyPr wrap="square" lIns="432000" bIns="522000" anchor="b">
            <a:noAutofit/>
          </a:bodyPr>
          <a:lstStyle>
            <a:lvl1pPr marL="0" indent="0">
              <a:spcBef>
                <a:spcPts val="200"/>
              </a:spcBef>
              <a:spcAft>
                <a:spcPts val="0"/>
              </a:spcAft>
              <a:buSzPct val="75000"/>
              <a:buFont typeface="+mj-lt"/>
              <a:buNone/>
              <a:tabLst/>
              <a:defRPr sz="1100">
                <a:solidFill>
                  <a:schemeClr val="bg1">
                    <a:alpha val="0"/>
                  </a:schemeClr>
                </a:solidFill>
              </a:defRPr>
            </a:lvl1pPr>
            <a:lvl2pPr marL="9525" indent="0">
              <a:spcBef>
                <a:spcPts val="400"/>
              </a:spcBef>
              <a:spcAft>
                <a:spcPts val="100"/>
              </a:spcAft>
              <a:buNone/>
              <a:tabLst/>
              <a:defRPr sz="1100" i="1">
                <a:solidFill>
                  <a:schemeClr val="bg1">
                    <a:alpha val="80000"/>
                  </a:schemeClr>
                </a:solidFill>
              </a:defRPr>
            </a:lvl2pPr>
            <a:lvl3pPr>
              <a:spcBef>
                <a:spcPts val="100"/>
              </a:spcBef>
              <a:spcAft>
                <a:spcPts val="100"/>
              </a:spcAft>
              <a:defRPr sz="1100">
                <a:solidFill>
                  <a:schemeClr val="accent6"/>
                </a:solidFill>
              </a:defRPr>
            </a:lvl3pPr>
            <a:lvl4pPr>
              <a:spcBef>
                <a:spcPts val="100"/>
              </a:spcBef>
              <a:spcAft>
                <a:spcPts val="100"/>
              </a:spcAft>
              <a:defRPr sz="1100">
                <a:solidFill>
                  <a:schemeClr val="accent6"/>
                </a:solidFill>
              </a:defRPr>
            </a:lvl4pPr>
            <a:lvl5pPr>
              <a:spcBef>
                <a:spcPts val="100"/>
              </a:spcBef>
              <a:spcAft>
                <a:spcPts val="100"/>
              </a:spcAft>
              <a:defRPr sz="1100">
                <a:solidFill>
                  <a:schemeClr val="accent6"/>
                </a:solidFill>
              </a:defRPr>
            </a:lvl5pPr>
          </a:lstStyle>
          <a:p>
            <a:pPr lvl="0"/>
            <a:endParaRPr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D0EBE1-B4D6-4047-83E5-6123C3DC2687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1652564"/>
            <a:ext cx="4572000" cy="223141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C577686-36A2-F643-B3D4-C5A2921D5F7D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0" y="2200591"/>
            <a:ext cx="4572000" cy="223141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6DB1FB2-683E-9B4E-ACC6-B46A2F01114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0" y="2748618"/>
            <a:ext cx="4572000" cy="223141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006F5B0-C97C-BA41-841A-D54DE5C3469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0" y="3296645"/>
            <a:ext cx="4572000" cy="223141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5A21497-54A9-774D-B270-BB2E796805E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0" y="3844672"/>
            <a:ext cx="4572000" cy="223141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E099CDA-61FC-6346-826F-84D1E7C935C1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0" y="4392699"/>
            <a:ext cx="4572000" cy="223141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3BE9B67-1FCF-0A49-9AA8-CCF0BC3A843D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0" y="4940726"/>
            <a:ext cx="4572000" cy="223141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7AF93A84-8DAC-D44B-87D4-386F989CA395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0" y="5488750"/>
            <a:ext cx="4572000" cy="223141"/>
          </a:xfrm>
          <a:noFill/>
          <a:ln>
            <a:noFill/>
          </a:ln>
          <a:effectLst/>
        </p:spPr>
        <p:txBody>
          <a:bodyPr lIns="432000" tIns="18000" rIns="144000" bIns="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0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agenda item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45B143-DDF1-6B4E-B0B2-7907B8C48F2D}"/>
              </a:ext>
            </a:extLst>
          </p:cNvPr>
          <p:cNvSpPr>
            <a:spLocks noGrp="1"/>
          </p:cNvSpPr>
          <p:nvPr userDrawn="1">
            <p:ph type="body" sz="quarter" idx="110" hasCustomPrompt="1"/>
          </p:nvPr>
        </p:nvSpPr>
        <p:spPr>
          <a:xfrm>
            <a:off x="9701721" y="1607861"/>
            <a:ext cx="2429418" cy="376755"/>
          </a:xfrm>
          <a:blipFill>
            <a:blip r:embed="rId6"/>
            <a:stretch>
              <a:fillRect/>
            </a:stretch>
          </a:blipFill>
          <a:effectLst/>
        </p:spPr>
        <p:txBody>
          <a:bodyPr lIns="432000" tIns="18000" rIns="144000" anchor="ctr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1pPr>
            <a:lvl2pPr marL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elect this elemen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0403EB9-9CA5-F144-8CC3-6564291F2A7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Slide TITLE. ALL CAPS. TWO LINES max.</a:t>
            </a:r>
          </a:p>
        </p:txBody>
      </p:sp>
      <p:sp>
        <p:nvSpPr>
          <p:cNvPr id="500" name="Caption">
            <a:extLst>
              <a:ext uri="{FF2B5EF4-FFF2-40B4-BE49-F238E27FC236}">
                <a16:creationId xmlns:a16="http://schemas.microsoft.com/office/drawing/2014/main" id="{6BEA4198-478B-E14D-8C70-FD4227A8A468}"/>
              </a:ext>
            </a:extLst>
          </p:cNvPr>
          <p:cNvSpPr>
            <a:spLocks noGrp="1"/>
          </p:cNvSpPr>
          <p:nvPr>
            <p:ph type="body" sz="quarter" idx="500" hasCustomPrompt="1"/>
          </p:nvPr>
        </p:nvSpPr>
        <p:spPr>
          <a:xfrm>
            <a:off x="7256523" y="6048425"/>
            <a:ext cx="1446636" cy="304699"/>
          </a:xfrm>
          <a:effectLst/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FontTx/>
              <a:buNone/>
              <a:tabLst/>
              <a:defRPr sz="1100" b="0">
                <a:solidFill>
                  <a:schemeClr val="bg1"/>
                </a:solidFill>
                <a:effectLst/>
              </a:defRPr>
            </a:lvl1pPr>
            <a:lvl2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3pPr>
            <a:lvl4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4pPr>
            <a:lvl5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5pPr>
            <a:lvl6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6pPr>
            <a:lvl7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7pPr>
            <a:lvl8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8pPr>
            <a:lvl9pPr marL="0" indent="0" algn="r">
              <a:spcAft>
                <a:spcPts val="0"/>
              </a:spcAft>
              <a:buFontTx/>
              <a:buNone/>
              <a:tabLst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photo captio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5B8C93-D828-C84E-9755-475E2DD5D8AF}"/>
              </a:ext>
            </a:extLst>
          </p:cNvPr>
          <p:cNvSpPr>
            <a:spLocks noGrp="1"/>
          </p:cNvSpPr>
          <p:nvPr>
            <p:ph type="dt" sz="half" idx="1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59B6D8-C4E6-704C-8857-5CD7CA3BEE1D}"/>
              </a:ext>
            </a:extLst>
          </p:cNvPr>
          <p:cNvSpPr>
            <a:spLocks noGrp="1"/>
          </p:cNvSpPr>
          <p:nvPr>
            <p:ph type="ftr" sz="quarter" idx="1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8C9A36-7012-864C-8C5E-DEC51C83883E}"/>
              </a:ext>
            </a:extLst>
          </p:cNvPr>
          <p:cNvSpPr>
            <a:spLocks noGrp="1"/>
          </p:cNvSpPr>
          <p:nvPr>
            <p:ph type="sldNum" sz="quarter" idx="117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864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2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83C530C-6A23-2143-97CF-E9F3861AF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2509098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5" name="think-cell Slide" r:id="rId62" imgW="7772400" imgH="10058400" progId="TCLayout.ActiveDocument.1">
                  <p:embed/>
                </p:oleObj>
              </mc:Choice>
              <mc:Fallback>
                <p:oleObj name="think-cell Slide" r:id="rId62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83C530C-6A23-2143-97CF-E9F3861AF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TextBox 98">
            <a:extLst>
              <a:ext uri="{FF2B5EF4-FFF2-40B4-BE49-F238E27FC236}">
                <a16:creationId xmlns:a16="http://schemas.microsoft.com/office/drawing/2014/main" id="{F979FF17-4902-0E4D-BB4E-5DD367A3D3B2}"/>
              </a:ext>
            </a:extLst>
          </p:cNvPr>
          <p:cNvSpPr txBox="1">
            <a:spLocks/>
          </p:cNvSpPr>
          <p:nvPr userDrawn="1"/>
        </p:nvSpPr>
        <p:spPr>
          <a:xfrm>
            <a:off x="0" y="6200776"/>
            <a:ext cx="9144000" cy="657225"/>
          </a:xfrm>
          <a:custGeom>
            <a:avLst/>
            <a:gdLst>
              <a:gd name="connsiteX0" fmla="*/ 8545321 w 9144000"/>
              <a:gd name="connsiteY0" fmla="*/ 376500 h 657225"/>
              <a:gd name="connsiteX1" fmla="*/ 8554631 w 9144000"/>
              <a:gd name="connsiteY1" fmla="*/ 376500 h 657225"/>
              <a:gd name="connsiteX2" fmla="*/ 8572756 w 9144000"/>
              <a:gd name="connsiteY2" fmla="*/ 391789 h 657225"/>
              <a:gd name="connsiteX3" fmla="*/ 8552841 w 9144000"/>
              <a:gd name="connsiteY3" fmla="*/ 407812 h 657225"/>
              <a:gd name="connsiteX4" fmla="*/ 8552841 w 9144000"/>
              <a:gd name="connsiteY4" fmla="*/ 407699 h 657225"/>
              <a:gd name="connsiteX5" fmla="*/ 8545321 w 9144000"/>
              <a:gd name="connsiteY5" fmla="*/ 407699 h 657225"/>
              <a:gd name="connsiteX6" fmla="*/ 8440532 w 9144000"/>
              <a:gd name="connsiteY6" fmla="*/ 375390 h 657225"/>
              <a:gd name="connsiteX7" fmla="*/ 8450870 w 9144000"/>
              <a:gd name="connsiteY7" fmla="*/ 375390 h 657225"/>
              <a:gd name="connsiteX8" fmla="*/ 8486566 w 9144000"/>
              <a:gd name="connsiteY8" fmla="*/ 406439 h 657225"/>
              <a:gd name="connsiteX9" fmla="*/ 8452487 w 9144000"/>
              <a:gd name="connsiteY9" fmla="*/ 439520 h 657225"/>
              <a:gd name="connsiteX10" fmla="*/ 8440532 w 9144000"/>
              <a:gd name="connsiteY10" fmla="*/ 439520 h 657225"/>
              <a:gd name="connsiteX11" fmla="*/ 8359313 w 9144000"/>
              <a:gd name="connsiteY11" fmla="*/ 353970 h 657225"/>
              <a:gd name="connsiteX12" fmla="*/ 8357847 w 9144000"/>
              <a:gd name="connsiteY12" fmla="*/ 357073 h 657225"/>
              <a:gd name="connsiteX13" fmla="*/ 8338066 w 9144000"/>
              <a:gd name="connsiteY13" fmla="*/ 398879 h 657225"/>
              <a:gd name="connsiteX14" fmla="*/ 8338066 w 9144000"/>
              <a:gd name="connsiteY14" fmla="*/ 460790 h 657225"/>
              <a:gd name="connsiteX15" fmla="*/ 8406529 w 9144000"/>
              <a:gd name="connsiteY15" fmla="*/ 460790 h 657225"/>
              <a:gd name="connsiteX16" fmla="*/ 8406529 w 9144000"/>
              <a:gd name="connsiteY16" fmla="*/ 438203 h 657225"/>
              <a:gd name="connsiteX17" fmla="*/ 8363159 w 9144000"/>
              <a:gd name="connsiteY17" fmla="*/ 438203 h 657225"/>
              <a:gd name="connsiteX18" fmla="*/ 8363159 w 9144000"/>
              <a:gd name="connsiteY18" fmla="*/ 417366 h 657225"/>
              <a:gd name="connsiteX19" fmla="*/ 8402683 w 9144000"/>
              <a:gd name="connsiteY19" fmla="*/ 417366 h 657225"/>
              <a:gd name="connsiteX20" fmla="*/ 8402683 w 9144000"/>
              <a:gd name="connsiteY20" fmla="*/ 395795 h 657225"/>
              <a:gd name="connsiteX21" fmla="*/ 8363159 w 9144000"/>
              <a:gd name="connsiteY21" fmla="*/ 395795 h 657225"/>
              <a:gd name="connsiteX22" fmla="*/ 8363159 w 9144000"/>
              <a:gd name="connsiteY22" fmla="*/ 376707 h 657225"/>
              <a:gd name="connsiteX23" fmla="*/ 8406529 w 9144000"/>
              <a:gd name="connsiteY23" fmla="*/ 376707 h 657225"/>
              <a:gd name="connsiteX24" fmla="*/ 8406529 w 9144000"/>
              <a:gd name="connsiteY24" fmla="*/ 353970 h 657225"/>
              <a:gd name="connsiteX25" fmla="*/ 8245576 w 9144000"/>
              <a:gd name="connsiteY25" fmla="*/ 353951 h 657225"/>
              <a:gd name="connsiteX26" fmla="*/ 8262083 w 9144000"/>
              <a:gd name="connsiteY26" fmla="*/ 388348 h 657225"/>
              <a:gd name="connsiteX27" fmla="*/ 8288527 w 9144000"/>
              <a:gd name="connsiteY27" fmla="*/ 388348 h 657225"/>
              <a:gd name="connsiteX28" fmla="*/ 8273963 w 9144000"/>
              <a:gd name="connsiteY28" fmla="*/ 353951 h 657225"/>
              <a:gd name="connsiteX29" fmla="*/ 8520246 w 9144000"/>
              <a:gd name="connsiteY29" fmla="*/ 353932 h 657225"/>
              <a:gd name="connsiteX30" fmla="*/ 8520246 w 9144000"/>
              <a:gd name="connsiteY30" fmla="*/ 460789 h 657225"/>
              <a:gd name="connsiteX31" fmla="*/ 8545321 w 9144000"/>
              <a:gd name="connsiteY31" fmla="*/ 460789 h 657225"/>
              <a:gd name="connsiteX32" fmla="*/ 8545321 w 9144000"/>
              <a:gd name="connsiteY32" fmla="*/ 429157 h 657225"/>
              <a:gd name="connsiteX33" fmla="*/ 8554631 w 9144000"/>
              <a:gd name="connsiteY33" fmla="*/ 429157 h 657225"/>
              <a:gd name="connsiteX34" fmla="*/ 8598420 w 9144000"/>
              <a:gd name="connsiteY34" fmla="*/ 391244 h 657225"/>
              <a:gd name="connsiteX35" fmla="*/ 8550347 w 9144000"/>
              <a:gd name="connsiteY35" fmla="*/ 353932 h 657225"/>
              <a:gd name="connsiteX36" fmla="*/ 8415496 w 9144000"/>
              <a:gd name="connsiteY36" fmla="*/ 353932 h 657225"/>
              <a:gd name="connsiteX37" fmla="*/ 8415496 w 9144000"/>
              <a:gd name="connsiteY37" fmla="*/ 460695 h 657225"/>
              <a:gd name="connsiteX38" fmla="*/ 8448547 w 9144000"/>
              <a:gd name="connsiteY38" fmla="*/ 460808 h 657225"/>
              <a:gd name="connsiteX39" fmla="*/ 8513278 w 9144000"/>
              <a:gd name="connsiteY39" fmla="*/ 406439 h 657225"/>
              <a:gd name="connsiteX40" fmla="*/ 8447462 w 9144000"/>
              <a:gd name="connsiteY40" fmla="*/ 353970 h 657225"/>
              <a:gd name="connsiteX41" fmla="*/ 8447500 w 9144000"/>
              <a:gd name="connsiteY41" fmla="*/ 353932 h 657225"/>
              <a:gd name="connsiteX42" fmla="*/ 8415496 w 9144000"/>
              <a:gd name="connsiteY42" fmla="*/ 353932 h 657225"/>
              <a:gd name="connsiteX43" fmla="*/ 8323901 w 9144000"/>
              <a:gd name="connsiteY43" fmla="*/ 353932 h 657225"/>
              <a:gd name="connsiteX44" fmla="*/ 8298694 w 9144000"/>
              <a:gd name="connsiteY44" fmla="*/ 411874 h 657225"/>
              <a:gd name="connsiteX45" fmla="*/ 8291859 w 9144000"/>
              <a:gd name="connsiteY45" fmla="*/ 395870 h 657225"/>
              <a:gd name="connsiteX46" fmla="*/ 8265624 w 9144000"/>
              <a:gd name="connsiteY46" fmla="*/ 395870 h 657225"/>
              <a:gd name="connsiteX47" fmla="*/ 8296943 w 9144000"/>
              <a:gd name="connsiteY47" fmla="*/ 461203 h 657225"/>
              <a:gd name="connsiteX48" fmla="*/ 8299856 w 9144000"/>
              <a:gd name="connsiteY48" fmla="*/ 461203 h 657225"/>
              <a:gd name="connsiteX49" fmla="*/ 8350594 w 9144000"/>
              <a:gd name="connsiteY49" fmla="*/ 353932 h 657225"/>
              <a:gd name="connsiteX50" fmla="*/ 8704282 w 9144000"/>
              <a:gd name="connsiteY50" fmla="*/ 315373 h 657225"/>
              <a:gd name="connsiteX51" fmla="*/ 8704282 w 9144000"/>
              <a:gd name="connsiteY51" fmla="*/ 489998 h 657225"/>
              <a:gd name="connsiteX52" fmla="*/ 8723671 w 9144000"/>
              <a:gd name="connsiteY52" fmla="*/ 489998 h 657225"/>
              <a:gd name="connsiteX53" fmla="*/ 8723671 w 9144000"/>
              <a:gd name="connsiteY53" fmla="*/ 315373 h 657225"/>
              <a:gd name="connsiteX54" fmla="*/ 0 w 9144000"/>
              <a:gd name="connsiteY54" fmla="*/ 0 h 657225"/>
              <a:gd name="connsiteX55" fmla="*/ 9144000 w 9144000"/>
              <a:gd name="connsiteY55" fmla="*/ 0 h 657225"/>
              <a:gd name="connsiteX56" fmla="*/ 9144000 w 9144000"/>
              <a:gd name="connsiteY56" fmla="*/ 657225 h 657225"/>
              <a:gd name="connsiteX57" fmla="*/ 0 w 9144000"/>
              <a:gd name="connsiteY57" fmla="*/ 657225 h 657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9144000" h="657225">
                <a:moveTo>
                  <a:pt x="8545321" y="376500"/>
                </a:moveTo>
                <a:lnTo>
                  <a:pt x="8554631" y="376500"/>
                </a:lnTo>
                <a:cubicBezTo>
                  <a:pt x="8567006" y="376500"/>
                  <a:pt x="8572756" y="383195"/>
                  <a:pt x="8572756" y="391789"/>
                </a:cubicBezTo>
                <a:cubicBezTo>
                  <a:pt x="8572756" y="402133"/>
                  <a:pt x="8566130" y="407812"/>
                  <a:pt x="8552841" y="407812"/>
                </a:cubicBezTo>
                <a:lnTo>
                  <a:pt x="8552841" y="407699"/>
                </a:lnTo>
                <a:lnTo>
                  <a:pt x="8545321" y="407699"/>
                </a:lnTo>
                <a:close/>
                <a:moveTo>
                  <a:pt x="8440532" y="375390"/>
                </a:moveTo>
                <a:lnTo>
                  <a:pt x="8450870" y="375390"/>
                </a:lnTo>
                <a:cubicBezTo>
                  <a:pt x="8474172" y="375390"/>
                  <a:pt x="8486566" y="387050"/>
                  <a:pt x="8486566" y="406439"/>
                </a:cubicBezTo>
                <a:cubicBezTo>
                  <a:pt x="8486566" y="426412"/>
                  <a:pt x="8476095" y="439520"/>
                  <a:pt x="8452487" y="439520"/>
                </a:cubicBezTo>
                <a:lnTo>
                  <a:pt x="8440532" y="439520"/>
                </a:lnTo>
                <a:close/>
                <a:moveTo>
                  <a:pt x="8359313" y="353970"/>
                </a:moveTo>
                <a:lnTo>
                  <a:pt x="8357847" y="357073"/>
                </a:lnTo>
                <a:lnTo>
                  <a:pt x="8338066" y="398879"/>
                </a:lnTo>
                <a:lnTo>
                  <a:pt x="8338066" y="460790"/>
                </a:lnTo>
                <a:lnTo>
                  <a:pt x="8406529" y="460790"/>
                </a:lnTo>
                <a:lnTo>
                  <a:pt x="8406529" y="438203"/>
                </a:lnTo>
                <a:lnTo>
                  <a:pt x="8363159" y="438203"/>
                </a:lnTo>
                <a:lnTo>
                  <a:pt x="8363159" y="417366"/>
                </a:lnTo>
                <a:lnTo>
                  <a:pt x="8402683" y="417366"/>
                </a:lnTo>
                <a:lnTo>
                  <a:pt x="8402683" y="395795"/>
                </a:lnTo>
                <a:lnTo>
                  <a:pt x="8363159" y="395795"/>
                </a:lnTo>
                <a:lnTo>
                  <a:pt x="8363159" y="376707"/>
                </a:lnTo>
                <a:lnTo>
                  <a:pt x="8406529" y="376707"/>
                </a:lnTo>
                <a:lnTo>
                  <a:pt x="8406529" y="353970"/>
                </a:lnTo>
                <a:close/>
                <a:moveTo>
                  <a:pt x="8245576" y="353951"/>
                </a:moveTo>
                <a:lnTo>
                  <a:pt x="8262083" y="388348"/>
                </a:lnTo>
                <a:lnTo>
                  <a:pt x="8288527" y="388348"/>
                </a:lnTo>
                <a:lnTo>
                  <a:pt x="8273963" y="353951"/>
                </a:lnTo>
                <a:close/>
                <a:moveTo>
                  <a:pt x="8520246" y="353932"/>
                </a:moveTo>
                <a:lnTo>
                  <a:pt x="8520246" y="460789"/>
                </a:lnTo>
                <a:lnTo>
                  <a:pt x="8545321" y="460789"/>
                </a:lnTo>
                <a:lnTo>
                  <a:pt x="8545321" y="429157"/>
                </a:lnTo>
                <a:lnTo>
                  <a:pt x="8554631" y="429157"/>
                </a:lnTo>
                <a:cubicBezTo>
                  <a:pt x="8583189" y="429157"/>
                  <a:pt x="8598420" y="413266"/>
                  <a:pt x="8598420" y="391244"/>
                </a:cubicBezTo>
                <a:cubicBezTo>
                  <a:pt x="8598439" y="369711"/>
                  <a:pt x="8581628" y="353932"/>
                  <a:pt x="8550347" y="353932"/>
                </a:cubicBezTo>
                <a:close/>
                <a:moveTo>
                  <a:pt x="8415496" y="353932"/>
                </a:moveTo>
                <a:lnTo>
                  <a:pt x="8415496" y="460695"/>
                </a:lnTo>
                <a:cubicBezTo>
                  <a:pt x="8415496" y="460695"/>
                  <a:pt x="8435867" y="460808"/>
                  <a:pt x="8448547" y="460808"/>
                </a:cubicBezTo>
                <a:cubicBezTo>
                  <a:pt x="8493382" y="460808"/>
                  <a:pt x="8513278" y="437921"/>
                  <a:pt x="8513278" y="406439"/>
                </a:cubicBezTo>
                <a:cubicBezTo>
                  <a:pt x="8513278" y="376349"/>
                  <a:pt x="8492335" y="353970"/>
                  <a:pt x="8447462" y="353970"/>
                </a:cubicBezTo>
                <a:lnTo>
                  <a:pt x="8447500" y="353932"/>
                </a:lnTo>
                <a:cubicBezTo>
                  <a:pt x="8436743" y="353932"/>
                  <a:pt x="8415496" y="353932"/>
                  <a:pt x="8415496" y="353932"/>
                </a:cubicBezTo>
                <a:close/>
                <a:moveTo>
                  <a:pt x="8323901" y="353932"/>
                </a:moveTo>
                <a:lnTo>
                  <a:pt x="8298694" y="411874"/>
                </a:lnTo>
                <a:lnTo>
                  <a:pt x="8291859" y="395870"/>
                </a:lnTo>
                <a:lnTo>
                  <a:pt x="8265624" y="395870"/>
                </a:lnTo>
                <a:lnTo>
                  <a:pt x="8296943" y="461203"/>
                </a:lnTo>
                <a:lnTo>
                  <a:pt x="8299856" y="461203"/>
                </a:lnTo>
                <a:lnTo>
                  <a:pt x="8350594" y="353932"/>
                </a:lnTo>
                <a:close/>
                <a:moveTo>
                  <a:pt x="8704282" y="315373"/>
                </a:moveTo>
                <a:lnTo>
                  <a:pt x="8704282" y="489998"/>
                </a:lnTo>
                <a:lnTo>
                  <a:pt x="8723671" y="489998"/>
                </a:lnTo>
                <a:lnTo>
                  <a:pt x="8723671" y="315373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657225"/>
                </a:lnTo>
                <a:lnTo>
                  <a:pt x="0" y="657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7850" indent="-30162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9950" indent="-2778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System Font Regular"/>
              <a:buChar char="–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D71511-F07B-A04E-A54D-BD95CD8FCE2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31800" y="423038"/>
            <a:ext cx="8280400" cy="5673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A45110-0167-564A-88EE-77AC9A9796DD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0" y="6864579"/>
            <a:ext cx="0" cy="0"/>
          </a:xfrm>
          <a:prstGeom prst="rect">
            <a:avLst/>
          </a:prstGeom>
          <a:ln w="0">
            <a:solidFill>
              <a:schemeClr val="bg1">
                <a:alpha val="0"/>
              </a:schemeClr>
            </a:solidFill>
          </a:ln>
        </p:spPr>
        <p:txBody>
          <a:bodyPr vert="horz" lIns="0" tIns="45720" rIns="91440" bIns="45720" rtlCol="0" anchor="ctr"/>
          <a:lstStyle>
            <a:lvl1pPr algn="l">
              <a:defRPr sz="2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D3717A-E9D8-444D-8D16-5A32534671E2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31800" y="1233488"/>
            <a:ext cx="8280400" cy="49323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ing (first level)</a:t>
            </a:r>
          </a:p>
          <a:p>
            <a:pPr lvl="1"/>
            <a:r>
              <a:rPr lang="en-US" dirty="0"/>
              <a:t>Body text (second level)</a:t>
            </a:r>
          </a:p>
          <a:p>
            <a:pPr lvl="2"/>
            <a:r>
              <a:rPr lang="en-US" dirty="0"/>
              <a:t>Square bullet (third level)</a:t>
            </a:r>
          </a:p>
          <a:p>
            <a:pPr lvl="3"/>
            <a:r>
              <a:rPr lang="en-US" dirty="0"/>
              <a:t>Dashed bullet (fourth level)</a:t>
            </a:r>
          </a:p>
          <a:p>
            <a:pPr lvl="4"/>
            <a:r>
              <a:rPr lang="en-US" dirty="0"/>
              <a:t>Dashed bullet (fifth level)</a:t>
            </a:r>
          </a:p>
          <a:p>
            <a:pPr lvl="5"/>
            <a:r>
              <a:rPr lang="en-US" dirty="0"/>
              <a:t>Dashed bullet (sixth level)</a:t>
            </a:r>
          </a:p>
          <a:p>
            <a:pPr lvl="6"/>
            <a:r>
              <a:rPr lang="en-US" dirty="0"/>
              <a:t>Dashed bullet (seventh level)</a:t>
            </a:r>
          </a:p>
          <a:p>
            <a:pPr lvl="7"/>
            <a:r>
              <a:rPr lang="en-US" dirty="0"/>
              <a:t>Dashed bullet (eighth level)</a:t>
            </a:r>
          </a:p>
          <a:p>
            <a:pPr lvl="8"/>
            <a:r>
              <a:rPr lang="en-US" dirty="0"/>
              <a:t>Dashed bullet (ninth level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39F0740-B130-9148-920F-1FBC5D74BB85}"/>
              </a:ext>
            </a:extLst>
          </p:cNvPr>
          <p:cNvGrpSpPr/>
          <p:nvPr userDrawn="1"/>
        </p:nvGrpSpPr>
        <p:grpSpPr>
          <a:xfrm>
            <a:off x="-256964" y="-246933"/>
            <a:ext cx="9657929" cy="7348688"/>
            <a:chOff x="-256964" y="-246933"/>
            <a:chExt cx="9657929" cy="7348688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3BDEFE8-9FA7-3249-9B81-EC3C5E1E0CD6}"/>
                </a:ext>
              </a:extLst>
            </p:cNvPr>
            <p:cNvGrpSpPr/>
            <p:nvPr userDrawn="1"/>
          </p:nvGrpSpPr>
          <p:grpSpPr>
            <a:xfrm>
              <a:off x="-256964" y="421651"/>
              <a:ext cx="251461" cy="567396"/>
              <a:chOff x="-256404" y="360363"/>
              <a:chExt cx="251461" cy="692152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5E12FD18-FB76-9E45-A035-FA2ACD4D007A}"/>
                  </a:ext>
                </a:extLst>
              </p:cNvPr>
              <p:cNvGrpSpPr/>
              <p:nvPr userDrawn="1"/>
            </p:nvGrpSpPr>
            <p:grpSpPr>
              <a:xfrm rot="16200000">
                <a:off x="-476749" y="580708"/>
                <a:ext cx="692152" cy="251461"/>
                <a:chOff x="431800" y="-235792"/>
                <a:chExt cx="4400551" cy="235792"/>
              </a:xfrm>
            </p:grpSpPr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F22B49D1-B420-0E48-A6FA-450123A6193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DB8D8002-031B-CE42-98C5-47AAD17660D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2C8986EF-5E91-E542-AF40-1DD8D8D0DACE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A41689B-8D32-B948-A8FC-5383A4F1BF0A}"/>
                  </a:ext>
                </a:extLst>
              </p:cNvPr>
              <p:cNvSpPr txBox="1"/>
              <p:nvPr userDrawn="1"/>
            </p:nvSpPr>
            <p:spPr>
              <a:xfrm rot="16200000">
                <a:off x="-252501" y="649201"/>
                <a:ext cx="243656" cy="107722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TITLE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D3D8E7E2-5950-E647-8606-275BB3DBFB13}"/>
                </a:ext>
              </a:extLst>
            </p:cNvPr>
            <p:cNvGrpSpPr/>
            <p:nvPr userDrawn="1"/>
          </p:nvGrpSpPr>
          <p:grpSpPr>
            <a:xfrm>
              <a:off x="-256963" y="6199390"/>
              <a:ext cx="251461" cy="505509"/>
              <a:chOff x="-256403" y="6200775"/>
              <a:chExt cx="251461" cy="505509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AA9EE014-7DD6-A04C-A2C6-7D9CCBE48B53}"/>
                  </a:ext>
                </a:extLst>
              </p:cNvPr>
              <p:cNvGrpSpPr/>
              <p:nvPr userDrawn="1"/>
            </p:nvGrpSpPr>
            <p:grpSpPr>
              <a:xfrm rot="16200000">
                <a:off x="-383427" y="6327799"/>
                <a:ext cx="505509" cy="251461"/>
                <a:chOff x="431800" y="-235792"/>
                <a:chExt cx="4400551" cy="235792"/>
              </a:xfrm>
            </p:grpSpPr>
            <p:cxnSp>
              <p:nvCxnSpPr>
                <p:cNvPr id="59" name="Straight Connector 58">
                  <a:extLst>
                    <a:ext uri="{FF2B5EF4-FFF2-40B4-BE49-F238E27FC236}">
                      <a16:creationId xmlns:a16="http://schemas.microsoft.com/office/drawing/2014/main" id="{73AE3D48-81C2-CC4E-A917-4EFA9A8758E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D7BA2BEC-D71E-2D4A-8263-034DF97FA82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1" name="Rectangle 60">
                  <a:extLst>
                    <a:ext uri="{FF2B5EF4-FFF2-40B4-BE49-F238E27FC236}">
                      <a16:creationId xmlns:a16="http://schemas.microsoft.com/office/drawing/2014/main" id="{C5E46BE6-4D23-5749-A5BA-CC466FA5839E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F4593E23-5413-AB48-9A3C-62AE835EAF18}"/>
                  </a:ext>
                </a:extLst>
              </p:cNvPr>
              <p:cNvSpPr txBox="1"/>
              <p:nvPr userDrawn="1"/>
            </p:nvSpPr>
            <p:spPr>
              <a:xfrm rot="16200000">
                <a:off x="-284561" y="6378258"/>
                <a:ext cx="307777" cy="172355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FOOT</a:t>
                </a:r>
                <a:b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NOTE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27CEBF6-43E9-5F47-8E2C-B54AD33300C0}"/>
                </a:ext>
              </a:extLst>
            </p:cNvPr>
            <p:cNvGrpSpPr/>
            <p:nvPr userDrawn="1"/>
          </p:nvGrpSpPr>
          <p:grpSpPr>
            <a:xfrm>
              <a:off x="431240" y="-246933"/>
              <a:ext cx="8280401" cy="7347304"/>
              <a:chOff x="431240" y="-246933"/>
              <a:chExt cx="8280401" cy="7347304"/>
            </a:xfrm>
          </p:grpSpPr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0FC885F4-0406-DD40-A377-62D4618F4E97}"/>
                  </a:ext>
                </a:extLst>
              </p:cNvPr>
              <p:cNvGrpSpPr/>
              <p:nvPr userDrawn="1"/>
            </p:nvGrpSpPr>
            <p:grpSpPr>
              <a:xfrm>
                <a:off x="431242" y="6864579"/>
                <a:ext cx="8280398" cy="235792"/>
                <a:chOff x="431801" y="-235792"/>
                <a:chExt cx="4400550" cy="235792"/>
              </a:xfrm>
            </p:grpSpPr>
            <p:cxnSp>
              <p:nvCxnSpPr>
                <p:cNvPr id="55" name="Straight Connector 54">
                  <a:extLst>
                    <a:ext uri="{FF2B5EF4-FFF2-40B4-BE49-F238E27FC236}">
                      <a16:creationId xmlns:a16="http://schemas.microsoft.com/office/drawing/2014/main" id="{5BF68FD4-ABD4-6F49-AD60-341BFE5D111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660F2D9F-628D-F44D-844A-F65DE298D8EB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015149B-889B-6140-AA46-36035191AC4D}"/>
                  </a:ext>
                </a:extLst>
              </p:cNvPr>
              <p:cNvGrpSpPr/>
              <p:nvPr userDrawn="1"/>
            </p:nvGrpSpPr>
            <p:grpSpPr>
              <a:xfrm>
                <a:off x="431240" y="-246933"/>
                <a:ext cx="8280401" cy="235792"/>
                <a:chOff x="431800" y="-240735"/>
                <a:chExt cx="8280401" cy="235792"/>
              </a:xfrm>
            </p:grpSpPr>
            <p:grpSp>
              <p:nvGrpSpPr>
                <p:cNvPr id="29" name="Group 28">
                  <a:extLst>
                    <a:ext uri="{FF2B5EF4-FFF2-40B4-BE49-F238E27FC236}">
                      <a16:creationId xmlns:a16="http://schemas.microsoft.com/office/drawing/2014/main" id="{6943FC13-01DD-AC42-A596-C5EAB432F263}"/>
                    </a:ext>
                  </a:extLst>
                </p:cNvPr>
                <p:cNvGrpSpPr/>
                <p:nvPr userDrawn="1"/>
              </p:nvGrpSpPr>
              <p:grpSpPr>
                <a:xfrm>
                  <a:off x="431800" y="-240735"/>
                  <a:ext cx="8280400" cy="235792"/>
                  <a:chOff x="431800" y="-235792"/>
                  <a:chExt cx="4400551" cy="235792"/>
                </a:xfrm>
              </p:grpSpPr>
              <p:cxnSp>
                <p:nvCxnSpPr>
                  <p:cNvPr id="23" name="Straight Connector 22">
                    <a:extLst>
                      <a:ext uri="{FF2B5EF4-FFF2-40B4-BE49-F238E27FC236}">
                        <a16:creationId xmlns:a16="http://schemas.microsoft.com/office/drawing/2014/main" id="{12F2B51E-5808-304B-9933-3B15AE6AE843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832351" y="-235792"/>
                    <a:ext cx="0" cy="235792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Straight Connector 23">
                    <a:extLst>
                      <a:ext uri="{FF2B5EF4-FFF2-40B4-BE49-F238E27FC236}">
                        <a16:creationId xmlns:a16="http://schemas.microsoft.com/office/drawing/2014/main" id="{A3FF3526-1234-674B-80E7-BCA857B95E8C}"/>
                      </a:ext>
                    </a:extLst>
                  </p:cNvPr>
                  <p:cNvCxnSpPr>
                    <a:cxnSpLocks/>
                  </p:cNvCxnSpPr>
                  <p:nvPr userDrawn="1"/>
                </p:nvCxnSpPr>
                <p:spPr>
                  <a:xfrm flipV="1">
                    <a:off x="431801" y="-235792"/>
                    <a:ext cx="0" cy="235791"/>
                  </a:xfrm>
                  <a:prstGeom prst="line">
                    <a:avLst/>
                  </a:prstGeom>
                  <a:ln w="2540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2" name="Rectangle 21">
                    <a:extLst>
                      <a:ext uri="{FF2B5EF4-FFF2-40B4-BE49-F238E27FC236}">
                        <a16:creationId xmlns:a16="http://schemas.microsoft.com/office/drawing/2014/main" id="{F4605588-4BA0-B14E-B9D7-4220945390F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2514180" y="-2318172"/>
                    <a:ext cx="235791" cy="4400551"/>
                  </a:xfrm>
                  <a:prstGeom prst="rect">
                    <a:avLst/>
                  </a:prstGeom>
                  <a:solidFill>
                    <a:schemeClr val="accent2">
                      <a:alpha val="1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75E48346-3BAB-6A45-BD6B-2E12F1AC491B}"/>
                    </a:ext>
                  </a:extLst>
                </p:cNvPr>
                <p:cNvSpPr txBox="1"/>
                <p:nvPr userDrawn="1"/>
              </p:nvSpPr>
              <p:spPr>
                <a:xfrm>
                  <a:off x="3695114" y="-176700"/>
                  <a:ext cx="1753786" cy="107722"/>
                </a:xfrm>
                <a:prstGeom prst="rect">
                  <a:avLst/>
                </a:prstGeom>
              </p:spPr>
              <p:txBody>
                <a:bodyPr vert="horz" wrap="none" lIns="108000" tIns="0" rIns="108000" bIns="0" rtlCol="0" anchor="ctr">
                  <a:spAutoFit/>
                </a:bodyPr>
                <a:lstStyle/>
                <a:p>
                  <a:pPr algn="ctr"/>
                  <a:r>
                    <a:rPr lang="en-US" sz="700" dirty="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KEEP CONTENT WITHIN THIS AREA</a:t>
                  </a:r>
                </a:p>
              </p:txBody>
            </p:sp>
            <p:cxnSp>
              <p:nvCxnSpPr>
                <p:cNvPr id="64" name="Straight Arrow Connector 63">
                  <a:extLst>
                    <a:ext uri="{FF2B5EF4-FFF2-40B4-BE49-F238E27FC236}">
                      <a16:creationId xmlns:a16="http://schemas.microsoft.com/office/drawing/2014/main" id="{7C3A3DDC-8736-8B47-957C-4DB3DC7BA389}"/>
                    </a:ext>
                  </a:extLst>
                </p:cNvPr>
                <p:cNvCxnSpPr>
                  <a:cxnSpLocks/>
                  <a:stCxn id="30" idx="1"/>
                  <a:endCxn id="22" idx="2"/>
                </p:cNvCxnSpPr>
                <p:nvPr userDrawn="1"/>
              </p:nvCxnSpPr>
              <p:spPr>
                <a:xfrm flipH="1">
                  <a:off x="431801" y="-122839"/>
                  <a:ext cx="3263313" cy="0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Arrow Connector 64">
                  <a:extLst>
                    <a:ext uri="{FF2B5EF4-FFF2-40B4-BE49-F238E27FC236}">
                      <a16:creationId xmlns:a16="http://schemas.microsoft.com/office/drawing/2014/main" id="{9E1BBA66-E33F-5246-A101-D1F7F9E3EFE0}"/>
                    </a:ext>
                  </a:extLst>
                </p:cNvPr>
                <p:cNvCxnSpPr>
                  <a:cxnSpLocks/>
                  <a:stCxn id="30" idx="3"/>
                  <a:endCxn id="22" idx="0"/>
                </p:cNvCxnSpPr>
                <p:nvPr userDrawn="1"/>
              </p:nvCxnSpPr>
              <p:spPr>
                <a:xfrm flipV="1">
                  <a:off x="5448900" y="-122840"/>
                  <a:ext cx="3263301" cy="1"/>
                </a:xfrm>
                <a:prstGeom prst="straightConnector1">
                  <a:avLst/>
                </a:prstGeom>
                <a:ln>
                  <a:solidFill>
                    <a:schemeClr val="accent2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0980A37-D446-294D-95D8-4AE280E4D28B}"/>
                </a:ext>
              </a:extLst>
            </p:cNvPr>
            <p:cNvGrpSpPr/>
            <p:nvPr userDrawn="1"/>
          </p:nvGrpSpPr>
          <p:grpSpPr>
            <a:xfrm>
              <a:off x="-256963" y="1233487"/>
              <a:ext cx="251461" cy="4930977"/>
              <a:chOff x="-256403" y="1304924"/>
              <a:chExt cx="251461" cy="4843215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45EE91C7-0375-8348-97F0-234CD68ACFF0}"/>
                  </a:ext>
                </a:extLst>
              </p:cNvPr>
              <p:cNvGrpSpPr/>
              <p:nvPr userDrawn="1"/>
            </p:nvGrpSpPr>
            <p:grpSpPr>
              <a:xfrm rot="16200000">
                <a:off x="-2552280" y="3600801"/>
                <a:ext cx="4843215" cy="251461"/>
                <a:chOff x="431800" y="-235792"/>
                <a:chExt cx="4400551" cy="235792"/>
              </a:xfrm>
            </p:grpSpPr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2EC75812-09C4-7D47-9562-5A8554E02090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832351" y="-235792"/>
                  <a:ext cx="0" cy="235792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786B1498-4B03-674C-80E6-9988AA331A62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31801" y="-235792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3DD40D0F-5B45-A441-A065-F744384DF89A}"/>
                    </a:ext>
                  </a:extLst>
                </p:cNvPr>
                <p:cNvSpPr/>
                <p:nvPr userDrawn="1"/>
              </p:nvSpPr>
              <p:spPr>
                <a:xfrm rot="5400000">
                  <a:off x="2514180" y="-2318172"/>
                  <a:ext cx="235791" cy="4400551"/>
                </a:xfrm>
                <a:prstGeom prst="rect">
                  <a:avLst/>
                </a:prstGeom>
                <a:solidFill>
                  <a:schemeClr val="accent2">
                    <a:alpha val="1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CE0455E3-6AFB-7D40-BC14-7ACB1F9DAD6E}"/>
                  </a:ext>
                </a:extLst>
              </p:cNvPr>
              <p:cNvSpPr txBox="1"/>
              <p:nvPr userDrawn="1"/>
            </p:nvSpPr>
            <p:spPr>
              <a:xfrm rot="16200000">
                <a:off x="-1007565" y="3672670"/>
                <a:ext cx="1753786" cy="107722"/>
              </a:xfrm>
              <a:prstGeom prst="rect">
                <a:avLst/>
              </a:prstGeom>
            </p:spPr>
            <p:txBody>
              <a:bodyPr vert="horz" wrap="none" lIns="108000" tIns="0" rIns="108000" bIns="0" rtlCol="0" anchor="ctr">
                <a:spAutoFit/>
              </a:bodyPr>
              <a:lstStyle/>
              <a:p>
                <a:pPr algn="ctr"/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KEEP CONTENT WITHIN THIS AREA</a:t>
                </a:r>
              </a:p>
            </p:txBody>
          </p:sp>
          <p:cxnSp>
            <p:nvCxnSpPr>
              <p:cNvPr id="66" name="Straight Arrow Connector 65">
                <a:extLst>
                  <a:ext uri="{FF2B5EF4-FFF2-40B4-BE49-F238E27FC236}">
                    <a16:creationId xmlns:a16="http://schemas.microsoft.com/office/drawing/2014/main" id="{369A0288-B930-114B-B48F-D4F3EF647C47}"/>
                  </a:ext>
                </a:extLst>
              </p:cNvPr>
              <p:cNvCxnSpPr>
                <a:cxnSpLocks/>
                <a:stCxn id="40" idx="1"/>
              </p:cNvCxnSpPr>
              <p:nvPr userDrawn="1"/>
            </p:nvCxnSpPr>
            <p:spPr>
              <a:xfrm>
                <a:off x="-130672" y="4603424"/>
                <a:ext cx="0" cy="1544714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Arrow Connector 66">
                <a:extLst>
                  <a:ext uri="{FF2B5EF4-FFF2-40B4-BE49-F238E27FC236}">
                    <a16:creationId xmlns:a16="http://schemas.microsoft.com/office/drawing/2014/main" id="{C5709236-298B-344F-AFF7-86E5F553B2FA}"/>
                  </a:ext>
                </a:extLst>
              </p:cNvPr>
              <p:cNvCxnSpPr>
                <a:cxnSpLocks/>
                <a:stCxn id="40" idx="3"/>
              </p:cNvCxnSpPr>
              <p:nvPr userDrawn="1"/>
            </p:nvCxnSpPr>
            <p:spPr>
              <a:xfrm flipH="1" flipV="1">
                <a:off x="-130673" y="1304928"/>
                <a:ext cx="1" cy="1544710"/>
              </a:xfrm>
              <a:prstGeom prst="straightConnector1">
                <a:avLst/>
              </a:prstGeom>
              <a:ln>
                <a:solidFill>
                  <a:schemeClr val="accent2"/>
                </a:solidFill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6943FE73-F9AD-6244-A555-E55A255D9C2B}"/>
                </a:ext>
              </a:extLst>
            </p:cNvPr>
            <p:cNvGrpSpPr/>
            <p:nvPr userDrawn="1"/>
          </p:nvGrpSpPr>
          <p:grpSpPr>
            <a:xfrm rot="16200000">
              <a:off x="8991537" y="579617"/>
              <a:ext cx="567396" cy="251461"/>
              <a:chOff x="431801" y="-235792"/>
              <a:chExt cx="4400550" cy="235792"/>
            </a:xfrm>
          </p:grpSpPr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C3628860-D8D8-0042-9BCF-5AA5EE7B10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D8BB8402-4D22-B448-885D-1B05C4E245E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5AE26B18-92DF-3249-AC98-8FA7C7C05ACB}"/>
                </a:ext>
              </a:extLst>
            </p:cNvPr>
            <p:cNvGrpSpPr/>
            <p:nvPr userDrawn="1"/>
          </p:nvGrpSpPr>
          <p:grpSpPr>
            <a:xfrm rot="16200000">
              <a:off x="9022480" y="6326414"/>
              <a:ext cx="505509" cy="251461"/>
              <a:chOff x="431801" y="-235792"/>
              <a:chExt cx="4400550" cy="235792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CF4903C6-7D49-3144-8CA4-C4535B8178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32351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C18B5DD9-7082-2F46-B230-AB7FEF259D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2450701C-1FD4-734B-B53D-04C1A47F09EC}"/>
                </a:ext>
              </a:extLst>
            </p:cNvPr>
            <p:cNvGrpSpPr/>
            <p:nvPr userDrawn="1"/>
          </p:nvGrpSpPr>
          <p:grpSpPr>
            <a:xfrm rot="16200000">
              <a:off x="6810642" y="3574139"/>
              <a:ext cx="4929186" cy="251461"/>
              <a:chOff x="431801" y="-235792"/>
              <a:chExt cx="4462347" cy="235792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EA7F5C02-DBA8-114C-B8AD-E6E39FB3E4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894148" y="-235792"/>
                <a:ext cx="0" cy="235792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2BBED8D4-0952-E441-B264-00A3F7C399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431801" y="-235792"/>
                <a:ext cx="0" cy="235791"/>
              </a:xfrm>
              <a:prstGeom prst="line">
                <a:avLst/>
              </a:prstGeom>
              <a:ln w="254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C2F4607-7DC3-324D-879F-E486D0EDF66B}"/>
                </a:ext>
              </a:extLst>
            </p:cNvPr>
            <p:cNvGrpSpPr/>
            <p:nvPr userDrawn="1"/>
          </p:nvGrpSpPr>
          <p:grpSpPr>
            <a:xfrm>
              <a:off x="3092543" y="6865965"/>
              <a:ext cx="2989225" cy="235790"/>
              <a:chOff x="3092534" y="6869197"/>
              <a:chExt cx="2989225" cy="235790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AEF875DB-5EB3-4849-8E5F-39088FA886E7}"/>
                  </a:ext>
                </a:extLst>
              </p:cNvPr>
              <p:cNvGrpSpPr/>
              <p:nvPr userDrawn="1"/>
            </p:nvGrpSpPr>
            <p:grpSpPr>
              <a:xfrm>
                <a:off x="3184525" y="6869197"/>
                <a:ext cx="2774950" cy="60992"/>
                <a:chOff x="3184525" y="6869196"/>
                <a:chExt cx="2774950" cy="235791"/>
              </a:xfrm>
            </p:grpSpPr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401B80A4-C088-3F40-B2A2-2D862F375A3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D2736629-EF45-5843-9E91-AF39A137BD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AD5C415B-C58A-5143-B195-53B6A53B164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7CA58A63-C828-AB49-B77B-45A6B4DBDD83}"/>
                  </a:ext>
                </a:extLst>
              </p:cNvPr>
              <p:cNvSpPr txBox="1"/>
              <p:nvPr userDrawn="1"/>
            </p:nvSpPr>
            <p:spPr>
              <a:xfrm>
                <a:off x="3092534" y="6954537"/>
                <a:ext cx="21159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1/3</a:t>
                </a:r>
                <a:r>
                  <a:rPr lang="en-US" sz="650" kern="120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0005311A-1292-E544-A38B-88988BFE1577}"/>
                  </a:ext>
                </a:extLst>
              </p:cNvPr>
              <p:cNvSpPr txBox="1"/>
              <p:nvPr userDrawn="1"/>
            </p:nvSpPr>
            <p:spPr>
              <a:xfrm>
                <a:off x="4459538" y="6954537"/>
                <a:ext cx="227626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HALF</a:t>
                </a: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417A683D-6BBC-AD4D-9603-29408D7E4EE4}"/>
                  </a:ext>
                </a:extLst>
              </p:cNvPr>
              <p:cNvSpPr txBox="1"/>
              <p:nvPr userDrawn="1"/>
            </p:nvSpPr>
            <p:spPr>
              <a:xfrm>
                <a:off x="5839705" y="6954537"/>
                <a:ext cx="242054" cy="861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7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2/3</a:t>
                </a:r>
                <a:r>
                  <a:rPr lang="en-US" sz="650" baseline="30000" dirty="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rPr>
                  <a:t>RDS</a:t>
                </a:r>
              </a:p>
            </p:txBody>
          </p: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3236913A-BD45-484F-BBAE-557205654333}"/>
                  </a:ext>
                </a:extLst>
              </p:cNvPr>
              <p:cNvGrpSpPr/>
              <p:nvPr userDrawn="1"/>
            </p:nvGrpSpPr>
            <p:grpSpPr>
              <a:xfrm>
                <a:off x="3184525" y="7040714"/>
                <a:ext cx="2774950" cy="64273"/>
                <a:chOff x="3184525" y="6869196"/>
                <a:chExt cx="2774950" cy="235791"/>
              </a:xfrm>
            </p:grpSpPr>
            <p:cxnSp>
              <p:nvCxnSpPr>
                <p:cNvPr id="94" name="Straight Connector 93">
                  <a:extLst>
                    <a:ext uri="{FF2B5EF4-FFF2-40B4-BE49-F238E27FC236}">
                      <a16:creationId xmlns:a16="http://schemas.microsoft.com/office/drawing/2014/main" id="{B8DC771C-3FBD-2747-9F87-9ED9BB8478E7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318452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>
                  <a:extLst>
                    <a:ext uri="{FF2B5EF4-FFF2-40B4-BE49-F238E27FC236}">
                      <a16:creationId xmlns:a16="http://schemas.microsoft.com/office/drawing/2014/main" id="{FE5CA426-9DD9-D944-BE42-16A5DAC54CD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4569513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02052529-8A86-4346-9F9F-9FB1DD48816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 flipV="1">
                  <a:off x="5959475" y="6869196"/>
                  <a:ext cx="0" cy="235791"/>
                </a:xfrm>
                <a:prstGeom prst="line">
                  <a:avLst/>
                </a:prstGeom>
                <a:ln w="254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98" name="Slide Number Placeholder 97">
            <a:extLst>
              <a:ext uri="{FF2B5EF4-FFF2-40B4-BE49-F238E27FC236}">
                <a16:creationId xmlns:a16="http://schemas.microsoft.com/office/drawing/2014/main" id="{8B997069-D21E-5945-9056-B66AD470AD31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790039" y="6516148"/>
            <a:ext cx="350454" cy="1746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noAutofit/>
          </a:bodyPr>
          <a:lstStyle>
            <a:lvl1pPr algn="l">
              <a:defRPr sz="900" b="1">
                <a:solidFill>
                  <a:schemeClr val="accent1"/>
                </a:solidFill>
              </a:defRPr>
            </a:lvl1pPr>
          </a:lstStyle>
          <a:p>
            <a:pPr marL="12700"/>
            <a:fld id="{078C017C-E1B9-8443-B047-B08AAA027B45}" type="slidenum">
              <a:rPr lang="en-US" smtClean="0"/>
              <a:pPr marL="12700"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CDD5D0-2B57-DD49-8A52-35BB8429C6FC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0" y="6864579"/>
            <a:ext cx="0" cy="0"/>
          </a:xfrm>
          <a:prstGeom prst="rect">
            <a:avLst/>
          </a:prstGeom>
          <a:ln w="0">
            <a:solidFill>
              <a:schemeClr val="bg1">
                <a:alpha val="0"/>
              </a:schemeClr>
            </a:solidFill>
          </a:ln>
        </p:spPr>
        <p:txBody>
          <a:bodyPr vert="horz" lIns="0" tIns="0" rIns="0" bIns="0" rtlCol="0" anchor="b"/>
          <a:lstStyle>
            <a:lvl1pPr marL="4763" indent="0" algn="l">
              <a:buFont typeface="Arial" panose="020B0604020202020204" pitchFamily="34" charset="0"/>
              <a:buNone/>
              <a:tabLst/>
              <a:defRPr sz="200">
                <a:solidFill>
                  <a:schemeClr val="tx1">
                    <a:alpha val="0"/>
                  </a:schemeClr>
                </a:solidFill>
              </a:defRPr>
            </a:lvl1pPr>
            <a:lvl2pPr marL="4763" indent="0" algn="l">
              <a:tabLst/>
              <a:defRPr sz="1100"/>
            </a:lvl2pPr>
            <a:lvl3pPr marL="4763" indent="0" algn="l">
              <a:tabLst/>
              <a:defRPr sz="1100"/>
            </a:lvl3pPr>
            <a:lvl4pPr marL="4763" indent="0" algn="l">
              <a:tabLst/>
              <a:defRPr sz="1100"/>
            </a:lvl4pPr>
            <a:lvl5pPr marL="4763" indent="0" algn="l">
              <a:tabLst/>
              <a:defRPr sz="1100"/>
            </a:lvl5pPr>
            <a:lvl6pPr marL="4763" indent="0" algn="l">
              <a:tabLst/>
              <a:defRPr sz="1100"/>
            </a:lvl6pPr>
            <a:lvl7pPr marL="4763" indent="0" algn="l">
              <a:tabLst/>
              <a:defRPr sz="1100"/>
            </a:lvl7pPr>
            <a:lvl8pPr marL="4763" indent="0" algn="l">
              <a:tabLst/>
              <a:defRPr sz="1100"/>
            </a:lvl8pPr>
            <a:lvl9pPr marL="4763" indent="0" algn="l">
              <a:tabLst/>
              <a:defRPr sz="1100"/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954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30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600"/>
        </a:spcBef>
        <a:spcAft>
          <a:spcPts val="300"/>
        </a:spcAft>
        <a:buClrTx/>
        <a:buSzTx/>
        <a:buFont typeface="Wingdings" pitchFamily="2" charset="2"/>
        <a:buNone/>
        <a:tabLst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508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508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8352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Font typeface="System Font Regular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80">
          <p15:clr>
            <a:srgbClr val="A4A3A4"/>
          </p15:clr>
        </p15:guide>
        <p15:guide id="3" pos="272">
          <p15:clr>
            <a:srgbClr val="C35EA4"/>
          </p15:clr>
        </p15:guide>
        <p15:guide id="4" pos="5488">
          <p15:clr>
            <a:srgbClr val="C35EA4"/>
          </p15:clr>
        </p15:guide>
        <p15:guide id="5" orient="horz" pos="624">
          <p15:clr>
            <a:srgbClr val="A4A3A4"/>
          </p15:clr>
        </p15:guide>
        <p15:guide id="6" orient="horz" pos="777">
          <p15:clr>
            <a:srgbClr val="F26B43"/>
          </p15:clr>
        </p15:guide>
        <p15:guide id="7" orient="horz" pos="3884">
          <p15:clr>
            <a:srgbClr val="F26B43"/>
          </p15:clr>
        </p15:guide>
        <p15:guide id="9" orient="horz" pos="3906">
          <p15:clr>
            <a:srgbClr val="A4A3A4"/>
          </p15:clr>
        </p15:guide>
        <p15:guide id="10" orient="horz" pos="4224">
          <p15:clr>
            <a:srgbClr val="A4A3A4"/>
          </p15:clr>
        </p15:guide>
        <p15:guide id="11" orient="horz" pos="265">
          <p15:clr>
            <a:srgbClr val="A4A3A4"/>
          </p15:clr>
        </p15:guide>
        <p15:guide id="13" pos="5624">
          <p15:clr>
            <a:srgbClr val="F26B43"/>
          </p15:clr>
        </p15:guide>
        <p15:guide id="14" orient="horz" pos="701">
          <p15:clr>
            <a:srgbClr val="5ACBF0"/>
          </p15:clr>
        </p15:guide>
        <p15:guide id="15" pos="136">
          <p15:clr>
            <a:srgbClr val="F26B43"/>
          </p15:clr>
        </p15:guide>
        <p15:guide id="16" pos="2006">
          <p15:clr>
            <a:srgbClr val="A4A3A4"/>
          </p15:clr>
        </p15:guide>
        <p15:guide id="17" pos="3754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sv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13" Type="http://schemas.openxmlformats.org/officeDocument/2006/relationships/image" Target="../media/image48.png"/><Relationship Id="rId18" Type="http://schemas.openxmlformats.org/officeDocument/2006/relationships/image" Target="../media/image53.png"/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47.png"/><Relationship Id="rId17" Type="http://schemas.openxmlformats.org/officeDocument/2006/relationships/image" Target="../media/image52.png"/><Relationship Id="rId2" Type="http://schemas.openxmlformats.org/officeDocument/2006/relationships/tags" Target="../tags/tag2.xml"/><Relationship Id="rId16" Type="http://schemas.openxmlformats.org/officeDocument/2006/relationships/image" Target="../media/image51.png"/><Relationship Id="rId20" Type="http://schemas.openxmlformats.org/officeDocument/2006/relationships/image" Target="../media/image510.png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.xml"/><Relationship Id="rId11" Type="http://schemas.openxmlformats.org/officeDocument/2006/relationships/image" Target="../media/image46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50.png"/><Relationship Id="rId10" Type="http://schemas.openxmlformats.org/officeDocument/2006/relationships/image" Target="../media/image6.svg"/><Relationship Id="rId19" Type="http://schemas.openxmlformats.org/officeDocument/2006/relationships/customXml" Target="../ink/ink1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45.png"/><Relationship Id="rId1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svg"/><Relationship Id="rId7" Type="http://schemas.openxmlformats.org/officeDocument/2006/relationships/image" Target="../media/image59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8.png"/><Relationship Id="rId5" Type="http://schemas.openxmlformats.org/officeDocument/2006/relationships/image" Target="../media/image57.sv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tmp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26916D-1C86-4923-B709-CC2B7B310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conomic development update to </a:t>
            </a:r>
            <a:r>
              <a:rPr lang="en-US" dirty="0" err="1"/>
              <a:t>vm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DF7D0F-1734-4D6A-9896-E25FF7BED17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July 30, 2020</a:t>
            </a:r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541AD6A9-B437-42B5-A896-11C3E098E7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953950" y="353604"/>
            <a:ext cx="377221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0732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Placeholder 17"/>
          <p:cNvGraphicFramePr>
            <a:graphicFrameLocks noGrp="1"/>
          </p:cNvGraphicFramePr>
          <p:nvPr>
            <p:ph type="chart" sz="quarter" idx="113"/>
          </p:nvPr>
        </p:nvGraphicFramePr>
        <p:xfrm>
          <a:off x="431800" y="1735138"/>
          <a:ext cx="7440612" cy="4430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E1445AC-A9C1-7446-9583-B351C8AC88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5"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E1445AC-A9C1-7446-9583-B351C8AC8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312480A-573F-944F-8288-B48CAFCB0C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>
              <a:latin typeface="Arial Bold" panose="020B0604020202020204"/>
              <a:ea typeface="+mj-ea"/>
              <a:sym typeface="Arial Bold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EBB498B-C8C9-F94F-8132-3FD272544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precedented economic impact of covid-19 could leave many Virginians out of work for several year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FD16843C-530B-6D47-AD06-E8D50AAF0B73}"/>
              </a:ext>
            </a:extLst>
          </p:cNvPr>
          <p:cNvSpPr>
            <a:spLocks noGrp="1"/>
          </p:cNvSpPr>
          <p:nvPr>
            <p:ph type="subTitle" sz="quarter" idx="1000"/>
          </p:nvPr>
        </p:nvSpPr>
        <p:spPr/>
        <p:txBody>
          <a:bodyPr/>
          <a:lstStyle/>
          <a:p>
            <a:r>
              <a:rPr lang="en-US" dirty="0"/>
              <a:t>Source: Moody’s Analytics (November 2019, July 2020 forecasts); VEDP analysi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6ED0C9-D112-0E49-A4D2-85BE200FC0AE}"/>
              </a:ext>
            </a:extLst>
          </p:cNvPr>
          <p:cNvSpPr>
            <a:spLocks noGrp="1"/>
          </p:cNvSpPr>
          <p:nvPr>
            <p:ph type="body" sz="quarter" idx="108"/>
          </p:nvPr>
        </p:nvSpPr>
        <p:spPr>
          <a:xfrm>
            <a:off x="431800" y="1224318"/>
            <a:ext cx="4921219" cy="386926"/>
          </a:xfrm>
        </p:spPr>
        <p:txBody>
          <a:bodyPr/>
          <a:lstStyle/>
          <a:p>
            <a:r>
              <a:rPr lang="en-US"/>
              <a:t>Impact of COVID-19 on employment forecast in Virginia</a:t>
            </a:r>
          </a:p>
          <a:p>
            <a:pPr lvl="1"/>
            <a:r>
              <a:rPr lang="en-US"/>
              <a:t>Actual and projected monthly nonagricultural employment (in thousand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CC9062-95A4-7E44-85B8-BE6B79A1ECB0}"/>
              </a:ext>
            </a:extLst>
          </p:cNvPr>
          <p:cNvSpPr>
            <a:spLocks noGrp="1"/>
          </p:cNvSpPr>
          <p:nvPr>
            <p:ph type="sldNum" sz="quarter" idx="116"/>
          </p:nvPr>
        </p:nvSpPr>
        <p:spPr/>
        <p:txBody>
          <a:bodyPr/>
          <a:lstStyle/>
          <a:p>
            <a:fld id="{078C017C-E1B9-8443-B047-B08AAA027B45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C265413-E124-5A42-A103-746B5D8729FB}"/>
              </a:ext>
            </a:extLst>
          </p:cNvPr>
          <p:cNvGrpSpPr/>
          <p:nvPr/>
        </p:nvGrpSpPr>
        <p:grpSpPr>
          <a:xfrm>
            <a:off x="9399182" y="-3"/>
            <a:ext cx="3190537" cy="10227702"/>
            <a:chOff x="9399182" y="-3"/>
            <a:chExt cx="3190537" cy="10227702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CEF23A8-08F1-6043-9A64-5A79A49FB683}"/>
                </a:ext>
              </a:extLst>
            </p:cNvPr>
            <p:cNvSpPr/>
            <p:nvPr/>
          </p:nvSpPr>
          <p:spPr>
            <a:xfrm>
              <a:off x="9399182" y="-3"/>
              <a:ext cx="3190537" cy="68580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/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2FC6F1A8-3F59-0E47-8050-A4C36FF84770}"/>
                </a:ext>
              </a:extLst>
            </p:cNvPr>
            <p:cNvGrpSpPr/>
            <p:nvPr/>
          </p:nvGrpSpPr>
          <p:grpSpPr>
            <a:xfrm>
              <a:off x="9399182" y="-3"/>
              <a:ext cx="2877466" cy="10227702"/>
              <a:chOff x="9399182" y="-3"/>
              <a:chExt cx="2877466" cy="10227702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92422A68-F6A9-5B4B-AA02-D5088EDC6B68}"/>
                  </a:ext>
                </a:extLst>
              </p:cNvPr>
              <p:cNvSpPr/>
              <p:nvPr userDrawn="1"/>
            </p:nvSpPr>
            <p:spPr>
              <a:xfrm>
                <a:off x="9399182" y="-3"/>
                <a:ext cx="2798651" cy="10088383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en-US"/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8257C946-FF5C-2B4D-9F09-36E61DC3345B}"/>
                  </a:ext>
                </a:extLst>
              </p:cNvPr>
              <p:cNvSpPr txBox="1"/>
              <p:nvPr userDrawn="1"/>
            </p:nvSpPr>
            <p:spPr>
              <a:xfrm>
                <a:off x="9558507" y="113452"/>
                <a:ext cx="2409314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t">
                <a:spAutoFit/>
              </a:bodyPr>
              <a:lstStyle>
                <a:defPPr>
                  <a:defRPr lang="en-US"/>
                </a:defPPr>
                <a:lvl1pPr>
                  <a:defRPr sz="1100">
                    <a:solidFill>
                      <a:schemeClr val="accent2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en-US">
                    <a:solidFill>
                      <a:schemeClr val="bg1"/>
                    </a:solidFill>
                  </a:rPr>
                  <a:t>HOW TO USE THIS SAMPLE CHART</a:t>
                </a:r>
              </a:p>
            </p:txBody>
          </p: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F2081F2-D228-644B-8F21-D5C303781A7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9558507" y="316069"/>
                <a:ext cx="2639328" cy="0"/>
              </a:xfrm>
              <a:prstGeom prst="line">
                <a:avLst/>
              </a:prstGeom>
              <a:ln w="19050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0CC2A96-8CA0-9349-9DCD-E5557C50EB0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746660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2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5F1DDAC7-C341-314F-9D7C-02333912B1CF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200986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3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49828993-228E-334A-B9A9-658C402F466D}"/>
                  </a:ext>
                </a:extLst>
              </p:cNvPr>
              <p:cNvSpPr txBox="1"/>
              <p:nvPr userDrawn="1"/>
            </p:nvSpPr>
            <p:spPr>
              <a:xfrm>
                <a:off x="9686425" y="721633"/>
                <a:ext cx="2397843" cy="65094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r>
                  <a:rPr lang="en-US" b="1"/>
                  <a:t>Update the sample data in Excel.</a:t>
                </a:r>
                <a:endParaRPr lang="en-US"/>
              </a:p>
              <a:p>
                <a:pPr lvl="1"/>
                <a:r>
                  <a:rPr lang="en-US"/>
                  <a:t>Click on the sample chart.</a:t>
                </a:r>
              </a:p>
              <a:p>
                <a:pPr lvl="1"/>
                <a:r>
                  <a:rPr lang="en-US"/>
                  <a:t>Click ‘Edit Data’ in the Chart Design tab.</a:t>
                </a:r>
              </a:p>
              <a:p>
                <a:pPr lvl="1"/>
                <a:r>
                  <a:rPr lang="en-US"/>
                  <a:t>Replace the sample data.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B4D71404-73F5-0F4B-A24D-A361E6D44F24}"/>
                  </a:ext>
                </a:extLst>
              </p:cNvPr>
              <p:cNvSpPr txBox="1"/>
              <p:nvPr/>
            </p:nvSpPr>
            <p:spPr>
              <a:xfrm>
                <a:off x="9686426" y="1986429"/>
                <a:ext cx="2300075" cy="57400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pPr lvl="0"/>
                <a:r>
                  <a:rPr lang="en-US" b="1"/>
                  <a:t>Remove any series you don’t need.</a:t>
                </a:r>
              </a:p>
              <a:p>
                <a:pPr lvl="1"/>
                <a:r>
                  <a:rPr lang="en-US"/>
                  <a:t>Adjust the data area in the Excel window to remove extra data series and legend entries from the chart.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3F9273D4-A2EC-5D49-B41F-5D3149C76E20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9521833" y="451717"/>
                <a:ext cx="114706" cy="114706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</p:spPr>
            <p:txBody>
              <a:bodyPr vert="horz" wrap="none" lIns="0" tIns="0" rIns="0" bIns="0" rtlCol="0" anchor="ctr">
                <a:noAutofit/>
              </a:bodyPr>
              <a:lstStyle/>
              <a:p>
                <a:pPr algn="ctr"/>
                <a:r>
                  <a:rPr lang="en-US" sz="5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B377631F-5487-4D4C-9B5A-2F806E5DC9A6}"/>
                  </a:ext>
                </a:extLst>
              </p:cNvPr>
              <p:cNvSpPr txBox="1"/>
              <p:nvPr/>
            </p:nvSpPr>
            <p:spPr>
              <a:xfrm>
                <a:off x="9686425" y="426690"/>
                <a:ext cx="2453291" cy="161583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defPPr>
                  <a:defRPr lang="en-US"/>
                </a:defPPr>
                <a:lvl1pPr lvl="0">
                  <a:spcBef>
                    <a:spcPts val="1000"/>
                  </a:spcBef>
                  <a:spcAft>
                    <a:spcPts val="300"/>
                  </a:spcAft>
                  <a:defRPr sz="1050" b="0" cap="none" spc="0" baseline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1pPr>
                <a:lvl2pPr marL="134938" lvl="1" indent="-131763">
                  <a:lnSpc>
                    <a:spcPct val="90000"/>
                  </a:lnSpc>
                  <a:spcAft>
                    <a:spcPts val="300"/>
                  </a:spcAft>
                  <a:buFont typeface="Wingdings" pitchFamily="2" charset="2"/>
                  <a:buChar char="§"/>
                  <a:tabLst/>
                  <a:defRPr sz="90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113" lvl="2" indent="0">
                  <a:spcBef>
                    <a:spcPts val="300"/>
                  </a:spcBef>
                  <a:buFont typeface="Wingdings" pitchFamily="2" charset="2"/>
                  <a:buNone/>
                  <a:tabLst/>
                  <a:defRPr sz="800">
                    <a:solidFill>
                      <a:schemeClr val="bg1">
                        <a:lumMod val="85000"/>
                      </a:schemeClr>
                    </a:solidFill>
                  </a:defRPr>
                </a:lvl3pPr>
              </a:lstStyle>
              <a:p>
                <a:r>
                  <a:rPr lang="en-US" b="1"/>
                  <a:t>Copy this slide into your presentation.</a:t>
                </a:r>
                <a:endParaRPr lang="en-US"/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CD6A3EAD-3C62-2D46-9D88-D5CF8D888B9B}"/>
                  </a:ext>
                </a:extLst>
              </p:cNvPr>
              <p:cNvGrpSpPr/>
              <p:nvPr/>
            </p:nvGrpSpPr>
            <p:grpSpPr>
              <a:xfrm>
                <a:off x="9541497" y="8485722"/>
                <a:ext cx="2735151" cy="1741977"/>
                <a:chOff x="9296567" y="4910411"/>
                <a:chExt cx="2735151" cy="1741977"/>
              </a:xfrm>
            </p:grpSpPr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054CE5B0-EC3C-A549-B242-4183419E60D5}"/>
                    </a:ext>
                  </a:extLst>
                </p:cNvPr>
                <p:cNvSpPr/>
                <p:nvPr userDrawn="1"/>
              </p:nvSpPr>
              <p:spPr>
                <a:xfrm>
                  <a:off x="9296567" y="4910411"/>
                  <a:ext cx="2735151" cy="1741977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309EE4DE-5D94-9944-9D7F-3654F32F5601}"/>
                    </a:ext>
                  </a:extLst>
                </p:cNvPr>
                <p:cNvSpPr txBox="1"/>
                <p:nvPr userDrawn="1"/>
              </p:nvSpPr>
              <p:spPr>
                <a:xfrm>
                  <a:off x="9662758" y="5039211"/>
                  <a:ext cx="2368960" cy="169277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TIP: Re-apply chart style</a:t>
                  </a:r>
                </a:p>
              </p:txBody>
            </p:sp>
            <p:pic>
              <p:nvPicPr>
                <p:cNvPr id="53" name="Graphic 52">
                  <a:extLst>
                    <a:ext uri="{FF2B5EF4-FFF2-40B4-BE49-F238E27FC236}">
                      <a16:creationId xmlns:a16="http://schemas.microsoft.com/office/drawing/2014/main" id="{0E1783F8-7834-374B-BC18-E08089F05B91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456790" y="5049494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EFA669BD-F589-FA44-89A8-84D2F3875B93}"/>
                    </a:ext>
                  </a:extLst>
                </p:cNvPr>
                <p:cNvSpPr txBox="1"/>
                <p:nvPr userDrawn="1"/>
              </p:nvSpPr>
              <p:spPr>
                <a:xfrm>
                  <a:off x="9471805" y="5300350"/>
                  <a:ext cx="2399065" cy="1184940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In case of error, return legend entries, data labels, and/or chart formatting by applying the matching VEDP chart style template.</a:t>
                  </a:r>
                </a:p>
                <a:p>
                  <a:pPr lvl="1"/>
                  <a:r>
                    <a:rPr lang="en-US"/>
                    <a:t>Right-click the chart and choose </a:t>
                  </a:r>
                  <a:br>
                    <a:rPr lang="en-US"/>
                  </a:br>
                  <a:r>
                    <a:rPr lang="en-US"/>
                    <a:t>“Change Chart Type”</a:t>
                  </a:r>
                </a:p>
                <a:p>
                  <a:pPr lvl="1"/>
                  <a:r>
                    <a:rPr lang="en-US"/>
                    <a:t>Then choose the matching VEDP chart style from the ‘Templates’ category.</a:t>
                  </a:r>
                </a:p>
                <a:p>
                  <a:pPr marL="139700" lvl="1" indent="0">
                    <a:buNone/>
                  </a:pPr>
                  <a:r>
                    <a:rPr lang="en-US" sz="700" b="1"/>
                    <a:t>TIP: </a:t>
                  </a:r>
                  <a:r>
                    <a:rPr lang="en-US" sz="700"/>
                    <a:t>The chart style template names match the slide titles of the chart sample slides.</a:t>
                  </a:r>
                </a:p>
              </p:txBody>
            </p:sp>
          </p:grpSp>
          <p:cxnSp>
            <p:nvCxnSpPr>
              <p:cNvPr id="48" name="Straight Arrow Connector 47">
                <a:extLst>
                  <a:ext uri="{FF2B5EF4-FFF2-40B4-BE49-F238E27FC236}">
                    <a16:creationId xmlns:a16="http://schemas.microsoft.com/office/drawing/2014/main" id="{E1853F3D-ECFE-6248-9E7C-B79EA956E4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17053" y="1668674"/>
                <a:ext cx="86396" cy="0"/>
              </a:xfrm>
              <a:prstGeom prst="straightConnector1">
                <a:avLst/>
              </a:prstGeom>
              <a:ln w="12700">
                <a:solidFill>
                  <a:schemeClr val="bg1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75D47BFB-0A7B-CB4C-8E9D-E72F661B31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9701721" y="1472783"/>
                <a:ext cx="215332" cy="348837"/>
              </a:xfrm>
              <a:prstGeom prst="rect">
                <a:avLst/>
              </a:prstGeom>
            </p:spPr>
          </p:pic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817708B3-1E3C-F540-88C4-943CB307EE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011670" y="1472783"/>
                <a:ext cx="2024205" cy="412913"/>
              </a:xfrm>
              <a:prstGeom prst="rect">
                <a:avLst/>
              </a:prstGeom>
            </p:spPr>
          </p:pic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C15319E8-8E93-FB4A-8F6B-B79AFC6E64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9686424" y="2649591"/>
                <a:ext cx="2353785" cy="479408"/>
              </a:xfrm>
              <a:prstGeom prst="rect">
                <a:avLst/>
              </a:prstGeom>
            </p:spPr>
          </p:pic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FBAE7F81-2C87-4843-A9C1-6B4D3ECD00AD}"/>
                  </a:ext>
                </a:extLst>
              </p:cNvPr>
              <p:cNvGrpSpPr/>
              <p:nvPr/>
            </p:nvGrpSpPr>
            <p:grpSpPr>
              <a:xfrm>
                <a:off x="9541497" y="3235190"/>
                <a:ext cx="2735151" cy="5152352"/>
                <a:chOff x="9541497" y="3235190"/>
                <a:chExt cx="2735151" cy="5152352"/>
              </a:xfrm>
            </p:grpSpPr>
            <p:sp>
              <p:nvSpPr>
                <p:cNvPr id="74" name="Rectangle 73">
                  <a:extLst>
                    <a:ext uri="{FF2B5EF4-FFF2-40B4-BE49-F238E27FC236}">
                      <a16:creationId xmlns:a16="http://schemas.microsoft.com/office/drawing/2014/main" id="{656C6140-1CCD-D641-A8B5-5E24224EF610}"/>
                    </a:ext>
                  </a:extLst>
                </p:cNvPr>
                <p:cNvSpPr/>
                <p:nvPr userDrawn="1"/>
              </p:nvSpPr>
              <p:spPr>
                <a:xfrm>
                  <a:off x="9541497" y="3235190"/>
                  <a:ext cx="2735151" cy="5152352"/>
                </a:xfrm>
                <a:prstGeom prst="rect">
                  <a:avLst/>
                </a:prstGeom>
                <a:solidFill>
                  <a:schemeClr val="bg1"/>
                </a:solidFill>
                <a:ln w="25400"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5" name="TextBox 74">
                  <a:extLst>
                    <a:ext uri="{FF2B5EF4-FFF2-40B4-BE49-F238E27FC236}">
                      <a16:creationId xmlns:a16="http://schemas.microsoft.com/office/drawing/2014/main" id="{3ABDB89A-D4B0-134B-8F73-301CBF46EF5B}"/>
                    </a:ext>
                  </a:extLst>
                </p:cNvPr>
                <p:cNvSpPr txBox="1"/>
                <p:nvPr userDrawn="1"/>
              </p:nvSpPr>
              <p:spPr>
                <a:xfrm>
                  <a:off x="9907688" y="3363990"/>
                  <a:ext cx="2368960" cy="33855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/>
                <a:p>
                  <a:pPr algn="l"/>
                  <a:r>
                    <a:rPr lang="en-US" sz="110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ALTERNATE LEGEND STYLE: </a:t>
                  </a:r>
                  <a:br>
                    <a:rPr lang="en-US" sz="110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</a:br>
                  <a:r>
                    <a:rPr lang="en-US" sz="1100">
                      <a:solidFill>
                        <a:schemeClr val="accent2"/>
                      </a:solidFill>
                      <a:latin typeface="Arial" charset="0"/>
                      <a:ea typeface="Arial" charset="0"/>
                      <a:cs typeface="Arial" charset="0"/>
                    </a:rPr>
                    <a:t>Replace legend with series labels</a:t>
                  </a:r>
                </a:p>
              </p:txBody>
            </p:sp>
            <p:pic>
              <p:nvPicPr>
                <p:cNvPr id="76" name="Graphic 75">
                  <a:extLst>
                    <a:ext uri="{FF2B5EF4-FFF2-40B4-BE49-F238E27FC236}">
                      <a16:creationId xmlns:a16="http://schemas.microsoft.com/office/drawing/2014/main" id="{E51558D1-D03F-D44C-A9A8-96474B244BF7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701720" y="3374273"/>
                  <a:ext cx="155227" cy="155227"/>
                </a:xfrm>
                <a:prstGeom prst="rect">
                  <a:avLst/>
                </a:prstGeom>
              </p:spPr>
            </p:pic>
            <p:sp>
              <p:nvSpPr>
                <p:cNvPr id="77" name="TextBox 76">
                  <a:extLst>
                    <a:ext uri="{FF2B5EF4-FFF2-40B4-BE49-F238E27FC236}">
                      <a16:creationId xmlns:a16="http://schemas.microsoft.com/office/drawing/2014/main" id="{D6B70F39-B746-3A49-A1A4-35D9A0812E28}"/>
                    </a:ext>
                  </a:extLst>
                </p:cNvPr>
                <p:cNvSpPr txBox="1"/>
                <p:nvPr userDrawn="1"/>
              </p:nvSpPr>
              <p:spPr>
                <a:xfrm>
                  <a:off x="9716735" y="3764348"/>
                  <a:ext cx="2399065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Follow these steps to add the series name to the last data point of each line:</a:t>
                  </a:r>
                  <a:endParaRPr lang="en-US" sz="700"/>
                </a:p>
              </p:txBody>
            </p:sp>
            <p:sp>
              <p:nvSpPr>
                <p:cNvPr id="83" name="TextBox 82">
                  <a:extLst>
                    <a:ext uri="{FF2B5EF4-FFF2-40B4-BE49-F238E27FC236}">
                      <a16:creationId xmlns:a16="http://schemas.microsoft.com/office/drawing/2014/main" id="{6213817F-66DB-BE4B-BEBE-01CC8D21CB68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9706332" y="4101363"/>
                  <a:ext cx="114706" cy="114706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1</a:t>
                  </a: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31AF4FA3-990D-F841-B855-0B734CF81F35}"/>
                    </a:ext>
                  </a:extLst>
                </p:cNvPr>
                <p:cNvSpPr txBox="1"/>
                <p:nvPr/>
              </p:nvSpPr>
              <p:spPr>
                <a:xfrm>
                  <a:off x="9861115" y="4087482"/>
                  <a:ext cx="2254686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Click </a:t>
                  </a:r>
                  <a:r>
                    <a:rPr lang="en-US" b="1"/>
                    <a:t>twice </a:t>
                  </a:r>
                  <a:r>
                    <a:rPr lang="en-US"/>
                    <a:t>on the last data point on the line.</a:t>
                  </a:r>
                  <a:endParaRPr lang="en-US" sz="700" b="1"/>
                </a:p>
              </p:txBody>
            </p:sp>
            <p:pic>
              <p:nvPicPr>
                <p:cNvPr id="60" name="Picture 59">
                  <a:extLst>
                    <a:ext uri="{FF2B5EF4-FFF2-40B4-BE49-F238E27FC236}">
                      <a16:creationId xmlns:a16="http://schemas.microsoft.com/office/drawing/2014/main" id="{B3C66114-6CC8-A241-A486-757B297341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9746308" y="4299754"/>
                  <a:ext cx="233194" cy="233194"/>
                </a:xfrm>
                <a:prstGeom prst="rect">
                  <a:avLst/>
                </a:prstGeom>
                <a:ln w="25400">
                  <a:solidFill>
                    <a:schemeClr val="accent3"/>
                  </a:solidFill>
                </a:ln>
              </p:spPr>
            </p:pic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3568D6DB-9F0D-8849-9952-68A178A7002F}"/>
                    </a:ext>
                  </a:extLst>
                </p:cNvPr>
                <p:cNvSpPr txBox="1"/>
                <p:nvPr/>
              </p:nvSpPr>
              <p:spPr>
                <a:xfrm>
                  <a:off x="10058399" y="4284763"/>
                  <a:ext cx="1957488" cy="1938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6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2">
                    <a:spcAft>
                      <a:spcPts val="0"/>
                    </a:spcAft>
                  </a:pPr>
                  <a:r>
                    <a:rPr lang="en-US" sz="700">
                      <a:solidFill>
                        <a:schemeClr val="bg1">
                          <a:lumMod val="65000"/>
                        </a:schemeClr>
                      </a:solidFill>
                    </a:rPr>
                    <a:t>Note: Clicking just once will select all the data points in the series—we only want the last point.</a:t>
                  </a: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E9CE0A6D-3BD8-A644-A106-645836F45D4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9706332" y="4647878"/>
                  <a:ext cx="114706" cy="114706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2</a:t>
                  </a:r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8FF3661F-C1CB-724D-8EDD-2E7AC041E465}"/>
                    </a:ext>
                  </a:extLst>
                </p:cNvPr>
                <p:cNvSpPr txBox="1"/>
                <p:nvPr/>
              </p:nvSpPr>
              <p:spPr>
                <a:xfrm>
                  <a:off x="9861115" y="4633997"/>
                  <a:ext cx="2254686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Right-click on the selected data point and choose “Add Data Label”</a:t>
                  </a:r>
                  <a:endParaRPr lang="en-US" sz="700" b="1"/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1C7A5E08-910E-F34F-9F44-4CD66743B37F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9706332" y="5006018"/>
                  <a:ext cx="114706" cy="114706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3</a:t>
                  </a:r>
                </a:p>
              </p:txBody>
            </p:sp>
            <p:sp>
              <p:nvSpPr>
                <p:cNvPr id="89" name="TextBox 88">
                  <a:extLst>
                    <a:ext uri="{FF2B5EF4-FFF2-40B4-BE49-F238E27FC236}">
                      <a16:creationId xmlns:a16="http://schemas.microsoft.com/office/drawing/2014/main" id="{6F47ED31-A8C9-B84D-BFD5-0B8267E187F4}"/>
                    </a:ext>
                  </a:extLst>
                </p:cNvPr>
                <p:cNvSpPr txBox="1"/>
                <p:nvPr/>
              </p:nvSpPr>
              <p:spPr>
                <a:xfrm>
                  <a:off x="9861115" y="4992137"/>
                  <a:ext cx="2254686" cy="1384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Click </a:t>
                  </a:r>
                  <a:r>
                    <a:rPr lang="en-US" b="1"/>
                    <a:t>twice</a:t>
                  </a:r>
                  <a:r>
                    <a:rPr lang="en-US"/>
                    <a:t> on the data label to select it.</a:t>
                  </a:r>
                  <a:endParaRPr lang="en-US" sz="700" b="1"/>
                </a:p>
              </p:txBody>
            </p:sp>
            <p:grpSp>
              <p:nvGrpSpPr>
                <p:cNvPr id="92" name="Group 91">
                  <a:extLst>
                    <a:ext uri="{FF2B5EF4-FFF2-40B4-BE49-F238E27FC236}">
                      <a16:creationId xmlns:a16="http://schemas.microsoft.com/office/drawing/2014/main" id="{DB5E767F-4F6F-FC49-ABF0-A216BA2F1212}"/>
                    </a:ext>
                  </a:extLst>
                </p:cNvPr>
                <p:cNvGrpSpPr/>
                <p:nvPr/>
              </p:nvGrpSpPr>
              <p:grpSpPr>
                <a:xfrm>
                  <a:off x="9746308" y="5215116"/>
                  <a:ext cx="427435" cy="180143"/>
                  <a:chOff x="9743653" y="5100882"/>
                  <a:chExt cx="427435" cy="180143"/>
                </a:xfrm>
              </p:grpSpPr>
              <p:pic>
                <p:nvPicPr>
                  <p:cNvPr id="64" name="Picture 63">
                    <a:extLst>
                      <a:ext uri="{FF2B5EF4-FFF2-40B4-BE49-F238E27FC236}">
                        <a16:creationId xmlns:a16="http://schemas.microsoft.com/office/drawing/2014/main" id="{A3DE9504-019A-5742-938D-CC8E942A6A3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5"/>
                  <a:srcRect l="16164" t="15970" r="16164" b="15970"/>
                  <a:stretch/>
                </p:blipFill>
                <p:spPr>
                  <a:xfrm>
                    <a:off x="9743653" y="5100882"/>
                    <a:ext cx="173400" cy="180143"/>
                  </a:xfrm>
                  <a:prstGeom prst="rect">
                    <a:avLst/>
                  </a:prstGeom>
                  <a:ln w="25400">
                    <a:solidFill>
                      <a:schemeClr val="accent3"/>
                    </a:solidFill>
                  </a:ln>
                </p:spPr>
              </p:pic>
              <p:pic>
                <p:nvPicPr>
                  <p:cNvPr id="66" name="Picture 65">
                    <a:extLst>
                      <a:ext uri="{FF2B5EF4-FFF2-40B4-BE49-F238E27FC236}">
                        <a16:creationId xmlns:a16="http://schemas.microsoft.com/office/drawing/2014/main" id="{85481997-8B2E-7645-A9DB-7EABDE410DE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 rotWithShape="1">
                  <a:blip r:embed="rId16"/>
                  <a:srcRect l="21341" t="16179" r="16781" b="15028"/>
                  <a:stretch/>
                </p:blipFill>
                <p:spPr>
                  <a:xfrm>
                    <a:off x="10000338" y="5100882"/>
                    <a:ext cx="170750" cy="180143"/>
                  </a:xfrm>
                  <a:prstGeom prst="rect">
                    <a:avLst/>
                  </a:prstGeom>
                  <a:ln w="25400">
                    <a:solidFill>
                      <a:schemeClr val="accent3"/>
                    </a:solidFill>
                  </a:ln>
                </p:spPr>
              </p:pic>
            </p:grpSp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6720E63F-6AB0-DD4F-882B-A3EBAC3FCC8D}"/>
                    </a:ext>
                  </a:extLst>
                </p:cNvPr>
                <p:cNvSpPr txBox="1"/>
                <p:nvPr/>
              </p:nvSpPr>
              <p:spPr>
                <a:xfrm>
                  <a:off x="10246490" y="5188614"/>
                  <a:ext cx="1951344" cy="29084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6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2">
                    <a:spcAft>
                      <a:spcPts val="0"/>
                    </a:spcAft>
                  </a:pPr>
                  <a:r>
                    <a:rPr lang="en-US" sz="700">
                      <a:solidFill>
                        <a:schemeClr val="bg1">
                          <a:lumMod val="65000"/>
                        </a:schemeClr>
                      </a:solidFill>
                    </a:rPr>
                    <a:t>Note: One click selects all labels for the series (and has 4 blue handles), while the second click selects only that label (and has 8 white handles).</a:t>
                  </a:r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04210855-4F2D-454B-83BD-7C710175FE9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9706332" y="5576658"/>
                  <a:ext cx="114706" cy="114706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4</a:t>
                  </a:r>
                </a:p>
              </p:txBody>
            </p:sp>
            <p:sp>
              <p:nvSpPr>
                <p:cNvPr id="94" name="TextBox 93">
                  <a:extLst>
                    <a:ext uri="{FF2B5EF4-FFF2-40B4-BE49-F238E27FC236}">
                      <a16:creationId xmlns:a16="http://schemas.microsoft.com/office/drawing/2014/main" id="{8A22CA66-06FA-A640-99DD-C7E843B7569B}"/>
                    </a:ext>
                  </a:extLst>
                </p:cNvPr>
                <p:cNvSpPr txBox="1"/>
                <p:nvPr/>
              </p:nvSpPr>
              <p:spPr>
                <a:xfrm>
                  <a:off x="9861115" y="5562777"/>
                  <a:ext cx="2254686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Right-click on the selected label and choose “Format Data Label…”</a:t>
                  </a:r>
                  <a:endParaRPr lang="en-US" sz="700" b="1"/>
                </a:p>
              </p:txBody>
            </p:sp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A34F31D6-DBBF-354F-A8EA-FBC1C73310ED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9706332" y="5921715"/>
                  <a:ext cx="114706" cy="114706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5</a:t>
                  </a:r>
                </a:p>
              </p:txBody>
            </p:sp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5EB61AB2-2854-4A40-9CA2-2353335E3F2D}"/>
                    </a:ext>
                  </a:extLst>
                </p:cNvPr>
                <p:cNvSpPr txBox="1"/>
                <p:nvPr/>
              </p:nvSpPr>
              <p:spPr>
                <a:xfrm>
                  <a:off x="9861115" y="5907834"/>
                  <a:ext cx="1552843" cy="5539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In the Label Options panel that opens, change the label contents to include the series name, and remove the value.</a:t>
                  </a:r>
                  <a:endParaRPr lang="en-US" sz="700" b="1"/>
                </a:p>
              </p:txBody>
            </p:sp>
            <p:pic>
              <p:nvPicPr>
                <p:cNvPr id="68" name="Picture 67">
                  <a:extLst>
                    <a:ext uri="{FF2B5EF4-FFF2-40B4-BE49-F238E27FC236}">
                      <a16:creationId xmlns:a16="http://schemas.microsoft.com/office/drawing/2014/main" id="{0B2D80A1-010C-714A-97DA-63C42F81A1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11486679" y="5929736"/>
                  <a:ext cx="471897" cy="514030"/>
                </a:xfrm>
                <a:prstGeom prst="rect">
                  <a:avLst/>
                </a:prstGeom>
                <a:ln w="25400">
                  <a:solidFill>
                    <a:schemeClr val="accent3"/>
                  </a:solidFill>
                </a:ln>
              </p:spPr>
            </p:pic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95884E74-729E-D848-938A-B3FA406382B2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9706332" y="6555227"/>
                  <a:ext cx="114706" cy="114706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6</a:t>
                  </a:r>
                </a:p>
              </p:txBody>
            </p:sp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7F947953-A904-484F-A143-791E001DAB50}"/>
                    </a:ext>
                  </a:extLst>
                </p:cNvPr>
                <p:cNvSpPr txBox="1"/>
                <p:nvPr/>
              </p:nvSpPr>
              <p:spPr>
                <a:xfrm>
                  <a:off x="9861115" y="6541346"/>
                  <a:ext cx="2174760" cy="276999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Repeat this process for the last data point of each series.</a:t>
                  </a:r>
                  <a:endParaRPr lang="en-US" sz="700" b="1"/>
                </a:p>
              </p:txBody>
            </p: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8E900FDB-B237-1A40-A66B-F87316D491B0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9706332" y="6916174"/>
                  <a:ext cx="114706" cy="114706"/>
                </a:xfrm>
                <a:prstGeom prst="ellipse">
                  <a:avLst/>
                </a:prstGeom>
                <a:solidFill>
                  <a:schemeClr val="bg1">
                    <a:lumMod val="65000"/>
                  </a:schemeClr>
                </a:solidFill>
              </p:spPr>
              <p:txBody>
                <a:bodyPr vert="horz" wrap="none" lIns="0" tIns="0" rIns="0" bIns="0" rtlCol="0" anchor="ctr">
                  <a:noAutofit/>
                </a:bodyPr>
                <a:lstStyle/>
                <a:p>
                  <a:pPr algn="ctr"/>
                  <a:r>
                    <a:rPr lang="en-US" sz="5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rPr>
                    <a:t>7</a:t>
                  </a:r>
                </a:p>
              </p:txBody>
            </p:sp>
            <p:sp>
              <p:nvSpPr>
                <p:cNvPr id="100" name="TextBox 99">
                  <a:extLst>
                    <a:ext uri="{FF2B5EF4-FFF2-40B4-BE49-F238E27FC236}">
                      <a16:creationId xmlns:a16="http://schemas.microsoft.com/office/drawing/2014/main" id="{58972557-7F73-3841-B90C-38F609BDDDD2}"/>
                    </a:ext>
                  </a:extLst>
                </p:cNvPr>
                <p:cNvSpPr txBox="1"/>
                <p:nvPr/>
              </p:nvSpPr>
              <p:spPr>
                <a:xfrm>
                  <a:off x="9861115" y="6902293"/>
                  <a:ext cx="2251372" cy="415498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>
                    <a:spcBef>
                      <a:spcPts val="200"/>
                    </a:spcBef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49225" lvl="1" indent="-149225">
                    <a:spcBef>
                      <a:spcPts val="200"/>
                    </a:spcBef>
                    <a:spcAft>
                      <a:spcPts val="0"/>
                    </a:spcAft>
                    <a:defRPr sz="90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</a:lstStyle>
                <a:p>
                  <a:r>
                    <a:rPr lang="en-US"/>
                    <a:t>Delete the legend box and (if needed) reposition the chart area to ensure the new labels have enough space to display.</a:t>
                  </a:r>
                  <a:endParaRPr lang="en-US" sz="700" b="1"/>
                </a:p>
              </p:txBody>
            </p:sp>
            <p:pic>
              <p:nvPicPr>
                <p:cNvPr id="70" name="Picture 69">
                  <a:extLst>
                    <a:ext uri="{FF2B5EF4-FFF2-40B4-BE49-F238E27FC236}">
                      <a16:creationId xmlns:a16="http://schemas.microsoft.com/office/drawing/2014/main" id="{031D9219-CC43-0443-8E82-6FE4CA48CC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9877819" y="7405692"/>
                  <a:ext cx="1536139" cy="833297"/>
                </a:xfrm>
                <a:prstGeom prst="rect">
                  <a:avLst/>
                </a:prstGeom>
                <a:ln w="25400">
                  <a:solidFill>
                    <a:schemeClr val="accent3"/>
                  </a:solidFill>
                </a:ln>
              </p:spPr>
            </p:pic>
            <p:sp>
              <p:nvSpPr>
                <p:cNvPr id="105" name="TextBox 104">
                  <a:extLst>
                    <a:ext uri="{FF2B5EF4-FFF2-40B4-BE49-F238E27FC236}">
                      <a16:creationId xmlns:a16="http://schemas.microsoft.com/office/drawing/2014/main" id="{489EEBCB-14E6-E848-BCE5-766558D7C0AB}"/>
                    </a:ext>
                  </a:extLst>
                </p:cNvPr>
                <p:cNvSpPr txBox="1"/>
                <p:nvPr/>
              </p:nvSpPr>
              <p:spPr>
                <a:xfrm>
                  <a:off x="9742258" y="5438976"/>
                  <a:ext cx="165430" cy="554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6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2">
                    <a:spcAft>
                      <a:spcPts val="0"/>
                    </a:spcAft>
                  </a:pPr>
                  <a:r>
                    <a:rPr lang="en-US" sz="400">
                      <a:solidFill>
                        <a:schemeClr val="bg1">
                          <a:lumMod val="65000"/>
                        </a:schemeClr>
                      </a:solidFill>
                    </a:rPr>
                    <a:t>1 Click</a:t>
                  </a:r>
                </a:p>
              </p:txBody>
            </p:sp>
            <p:sp>
              <p:nvSpPr>
                <p:cNvPr id="106" name="TextBox 105">
                  <a:extLst>
                    <a:ext uri="{FF2B5EF4-FFF2-40B4-BE49-F238E27FC236}">
                      <a16:creationId xmlns:a16="http://schemas.microsoft.com/office/drawing/2014/main" id="{DB679AE9-A28F-AE48-9761-9BF2BB2CC386}"/>
                    </a:ext>
                  </a:extLst>
                </p:cNvPr>
                <p:cNvSpPr txBox="1"/>
                <p:nvPr/>
              </p:nvSpPr>
              <p:spPr>
                <a:xfrm>
                  <a:off x="9991527" y="5438976"/>
                  <a:ext cx="191078" cy="55400"/>
                </a:xfrm>
                <a:prstGeom prst="rect">
                  <a:avLst/>
                </a:prstGeom>
              </p:spPr>
              <p:txBody>
                <a:bodyPr vert="horz" wrap="none" lIns="0" tIns="0" rIns="0" bIns="0" rtlCol="0" anchor="t">
                  <a:spAutoFit/>
                </a:bodyPr>
                <a:lstStyle>
                  <a:defPPr>
                    <a:defRPr lang="en-US"/>
                  </a:defPPr>
                  <a:lvl1pPr lvl="0">
                    <a:spcBef>
                      <a:spcPts val="1600"/>
                    </a:spcBef>
                    <a:spcAft>
                      <a:spcPts val="300"/>
                    </a:spcAft>
                    <a:defRPr sz="1050" b="0" cap="none" spc="0" baseline="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1pPr>
                  <a:lvl2pPr marL="134938" lvl="1" indent="-131763">
                    <a:lnSpc>
                      <a:spcPct val="90000"/>
                    </a:lnSpc>
                    <a:spcAft>
                      <a:spcPts val="300"/>
                    </a:spcAft>
                    <a:buFont typeface="Wingdings" pitchFamily="2" charset="2"/>
                    <a:buChar char="§"/>
                    <a:tabLst/>
                    <a:defRPr sz="900">
                      <a:solidFill>
                        <a:schemeClr val="bg1"/>
                      </a:solidFill>
                      <a:latin typeface="Arial" charset="0"/>
                      <a:ea typeface="Arial" charset="0"/>
                      <a:cs typeface="Arial" charset="0"/>
                    </a:defRPr>
                  </a:lvl2pPr>
                  <a:lvl3pPr marL="11113" lvl="2" indent="0">
                    <a:spcBef>
                      <a:spcPts val="300"/>
                    </a:spcBef>
                    <a:buFont typeface="Wingdings" pitchFamily="2" charset="2"/>
                    <a:buNone/>
                    <a:tabLst/>
                    <a:defRPr sz="800">
                      <a:solidFill>
                        <a:schemeClr val="bg1">
                          <a:lumMod val="85000"/>
                        </a:schemeClr>
                      </a:solidFill>
                    </a:defRPr>
                  </a:lvl3pPr>
                </a:lstStyle>
                <a:p>
                  <a:pPr lvl="2">
                    <a:spcAft>
                      <a:spcPts val="0"/>
                    </a:spcAft>
                  </a:pPr>
                  <a:r>
                    <a:rPr lang="en-US" sz="400">
                      <a:solidFill>
                        <a:schemeClr val="bg1">
                          <a:lumMod val="65000"/>
                        </a:schemeClr>
                      </a:solidFill>
                    </a:rPr>
                    <a:t>2 Clicks</a:t>
                  </a:r>
                </a:p>
              </p:txBody>
            </p:sp>
          </p:grpSp>
        </p:grpSp>
      </p:grpSp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471ADD6A-26A5-4C9D-879A-1FEBE2FE904E}"/>
                  </a:ext>
                </a:extLst>
              </p14:cNvPr>
              <p14:cNvContentPartPr/>
              <p14:nvPr/>
            </p14:nvContentPartPr>
            <p14:xfrm>
              <a:off x="3123700" y="50380"/>
              <a:ext cx="360" cy="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471ADD6A-26A5-4C9D-879A-1FEBE2FE904E}"/>
                  </a:ext>
                </a:extLst>
              </p:cNvPr>
              <p:cNvPicPr/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3114700" y="41380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69" name="TextBox 68">
            <a:extLst>
              <a:ext uri="{FF2B5EF4-FFF2-40B4-BE49-F238E27FC236}">
                <a16:creationId xmlns:a16="http://schemas.microsoft.com/office/drawing/2014/main" id="{092969C4-6093-4541-8C58-0C0E131F1810}"/>
              </a:ext>
            </a:extLst>
          </p:cNvPr>
          <p:cNvSpPr txBox="1"/>
          <p:nvPr/>
        </p:nvSpPr>
        <p:spPr>
          <a:xfrm>
            <a:off x="4160056" y="3194845"/>
            <a:ext cx="1502529" cy="33855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en-US" sz="1100" b="1">
                <a:latin typeface="Arial" charset="0"/>
                <a:ea typeface="Arial" charset="0"/>
                <a:cs typeface="Arial" charset="0"/>
              </a:rPr>
              <a:t>Jobs deficit </a:t>
            </a:r>
            <a:br>
              <a:rPr lang="en-US" sz="1100" b="1">
                <a:latin typeface="Arial" charset="0"/>
                <a:ea typeface="Arial" charset="0"/>
                <a:cs typeface="Arial" charset="0"/>
              </a:rPr>
            </a:br>
            <a:r>
              <a:rPr lang="en-US" sz="1100">
                <a:latin typeface="Arial" charset="0"/>
                <a:ea typeface="Arial" charset="0"/>
                <a:cs typeface="Arial" charset="0"/>
              </a:rPr>
              <a:t>w/o further action</a:t>
            </a:r>
            <a:endParaRPr lang="en-US" sz="1100" b="1"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52D3518D-B16A-4639-8686-FB97FCC74D72}"/>
              </a:ext>
            </a:extLst>
          </p:cNvPr>
          <p:cNvCxnSpPr>
            <a:cxnSpLocks/>
          </p:cNvCxnSpPr>
          <p:nvPr/>
        </p:nvCxnSpPr>
        <p:spPr>
          <a:xfrm>
            <a:off x="1225118" y="3127664"/>
            <a:ext cx="661009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3767D06B-4C83-4730-B38F-6A85032F5543}"/>
              </a:ext>
            </a:extLst>
          </p:cNvPr>
          <p:cNvSpPr txBox="1"/>
          <p:nvPr/>
        </p:nvSpPr>
        <p:spPr>
          <a:xfrm>
            <a:off x="7871790" y="2952284"/>
            <a:ext cx="1047391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b="1">
                <a:latin typeface="Arial" charset="0"/>
                <a:ea typeface="Arial" charset="0"/>
                <a:cs typeface="Arial" charset="0"/>
              </a:rPr>
              <a:t>2019 actuals </a:t>
            </a:r>
            <a:r>
              <a:rPr lang="en-US">
                <a:latin typeface="Arial" charset="0"/>
                <a:ea typeface="Arial" charset="0"/>
                <a:cs typeface="Arial" charset="0"/>
              </a:rPr>
              <a:t>4,060K jobs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BEA1F99-4A2A-4F50-8DA5-D2E827441DC5}"/>
              </a:ext>
            </a:extLst>
          </p:cNvPr>
          <p:cNvSpPr/>
          <p:nvPr/>
        </p:nvSpPr>
        <p:spPr>
          <a:xfrm>
            <a:off x="4262120" y="2727960"/>
            <a:ext cx="3451860" cy="1584960"/>
          </a:xfrm>
          <a:custGeom>
            <a:avLst/>
            <a:gdLst>
              <a:gd name="connsiteX0" fmla="*/ 0 w 3451860"/>
              <a:gd name="connsiteY0" fmla="*/ 391160 h 1584960"/>
              <a:gd name="connsiteX1" fmla="*/ 53340 w 3451860"/>
              <a:gd name="connsiteY1" fmla="*/ 647700 h 1584960"/>
              <a:gd name="connsiteX2" fmla="*/ 104140 w 3451860"/>
              <a:gd name="connsiteY2" fmla="*/ 1249680 h 1584960"/>
              <a:gd name="connsiteX3" fmla="*/ 152400 w 3451860"/>
              <a:gd name="connsiteY3" fmla="*/ 1584960 h 1584960"/>
              <a:gd name="connsiteX4" fmla="*/ 200660 w 3451860"/>
              <a:gd name="connsiteY4" fmla="*/ 1554480 h 1584960"/>
              <a:gd name="connsiteX5" fmla="*/ 292100 w 3451860"/>
              <a:gd name="connsiteY5" fmla="*/ 1051560 h 1584960"/>
              <a:gd name="connsiteX6" fmla="*/ 350520 w 3451860"/>
              <a:gd name="connsiteY6" fmla="*/ 985520 h 1584960"/>
              <a:gd name="connsiteX7" fmla="*/ 439420 w 3451860"/>
              <a:gd name="connsiteY7" fmla="*/ 1140460 h 1584960"/>
              <a:gd name="connsiteX8" fmla="*/ 495300 w 3451860"/>
              <a:gd name="connsiteY8" fmla="*/ 1168400 h 1584960"/>
              <a:gd name="connsiteX9" fmla="*/ 596900 w 3451860"/>
              <a:gd name="connsiteY9" fmla="*/ 1087120 h 1584960"/>
              <a:gd name="connsiteX10" fmla="*/ 652780 w 3451860"/>
              <a:gd name="connsiteY10" fmla="*/ 1064260 h 1584960"/>
              <a:gd name="connsiteX11" fmla="*/ 759460 w 3451860"/>
              <a:gd name="connsiteY11" fmla="*/ 1079500 h 1584960"/>
              <a:gd name="connsiteX12" fmla="*/ 1059180 w 3451860"/>
              <a:gd name="connsiteY12" fmla="*/ 909320 h 1584960"/>
              <a:gd name="connsiteX13" fmla="*/ 1236980 w 3451860"/>
              <a:gd name="connsiteY13" fmla="*/ 769620 h 1584960"/>
              <a:gd name="connsiteX14" fmla="*/ 1612900 w 3451860"/>
              <a:gd name="connsiteY14" fmla="*/ 530860 h 1584960"/>
              <a:gd name="connsiteX15" fmla="*/ 1884680 w 3451860"/>
              <a:gd name="connsiteY15" fmla="*/ 365760 h 1584960"/>
              <a:gd name="connsiteX16" fmla="*/ 2148840 w 3451860"/>
              <a:gd name="connsiteY16" fmla="*/ 259080 h 1584960"/>
              <a:gd name="connsiteX17" fmla="*/ 2379980 w 3451860"/>
              <a:gd name="connsiteY17" fmla="*/ 200660 h 1584960"/>
              <a:gd name="connsiteX18" fmla="*/ 2730500 w 3451860"/>
              <a:gd name="connsiteY18" fmla="*/ 160020 h 1584960"/>
              <a:gd name="connsiteX19" fmla="*/ 3225800 w 3451860"/>
              <a:gd name="connsiteY19" fmla="*/ 104140 h 1584960"/>
              <a:gd name="connsiteX20" fmla="*/ 3451860 w 3451860"/>
              <a:gd name="connsiteY20" fmla="*/ 71120 h 1584960"/>
              <a:gd name="connsiteX21" fmla="*/ 3451860 w 3451860"/>
              <a:gd name="connsiteY21" fmla="*/ 0 h 1584960"/>
              <a:gd name="connsiteX22" fmla="*/ 2562860 w 3451860"/>
              <a:gd name="connsiteY22" fmla="*/ 124460 h 1584960"/>
              <a:gd name="connsiteX23" fmla="*/ 1869440 w 3451860"/>
              <a:gd name="connsiteY23" fmla="*/ 210820 h 1584960"/>
              <a:gd name="connsiteX24" fmla="*/ 1498600 w 3451860"/>
              <a:gd name="connsiteY24" fmla="*/ 248920 h 1584960"/>
              <a:gd name="connsiteX25" fmla="*/ 899160 w 3451860"/>
              <a:gd name="connsiteY25" fmla="*/ 396240 h 1584960"/>
              <a:gd name="connsiteX26" fmla="*/ 690880 w 3451860"/>
              <a:gd name="connsiteY26" fmla="*/ 416560 h 1584960"/>
              <a:gd name="connsiteX27" fmla="*/ 548640 w 3451860"/>
              <a:gd name="connsiteY27" fmla="*/ 398780 h 1584960"/>
              <a:gd name="connsiteX28" fmla="*/ 439420 w 3451860"/>
              <a:gd name="connsiteY28" fmla="*/ 373380 h 1584960"/>
              <a:gd name="connsiteX29" fmla="*/ 312420 w 3451860"/>
              <a:gd name="connsiteY29" fmla="*/ 381000 h 1584960"/>
              <a:gd name="connsiteX30" fmla="*/ 162560 w 3451860"/>
              <a:gd name="connsiteY30" fmla="*/ 368300 h 1584960"/>
              <a:gd name="connsiteX31" fmla="*/ 0 w 3451860"/>
              <a:gd name="connsiteY31" fmla="*/ 391160 h 1584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451860" h="1584960">
                <a:moveTo>
                  <a:pt x="0" y="391160"/>
                </a:moveTo>
                <a:lnTo>
                  <a:pt x="53340" y="647700"/>
                </a:lnTo>
                <a:lnTo>
                  <a:pt x="104140" y="1249680"/>
                </a:lnTo>
                <a:lnTo>
                  <a:pt x="152400" y="1584960"/>
                </a:lnTo>
                <a:lnTo>
                  <a:pt x="200660" y="1554480"/>
                </a:lnTo>
                <a:lnTo>
                  <a:pt x="292100" y="1051560"/>
                </a:lnTo>
                <a:lnTo>
                  <a:pt x="350520" y="985520"/>
                </a:lnTo>
                <a:lnTo>
                  <a:pt x="439420" y="1140460"/>
                </a:lnTo>
                <a:lnTo>
                  <a:pt x="495300" y="1168400"/>
                </a:lnTo>
                <a:lnTo>
                  <a:pt x="596900" y="1087120"/>
                </a:lnTo>
                <a:lnTo>
                  <a:pt x="652780" y="1064260"/>
                </a:lnTo>
                <a:lnTo>
                  <a:pt x="759460" y="1079500"/>
                </a:lnTo>
                <a:lnTo>
                  <a:pt x="1059180" y="909320"/>
                </a:lnTo>
                <a:lnTo>
                  <a:pt x="1236980" y="769620"/>
                </a:lnTo>
                <a:lnTo>
                  <a:pt x="1612900" y="530860"/>
                </a:lnTo>
                <a:lnTo>
                  <a:pt x="1884680" y="365760"/>
                </a:lnTo>
                <a:lnTo>
                  <a:pt x="2148840" y="259080"/>
                </a:lnTo>
                <a:lnTo>
                  <a:pt x="2379980" y="200660"/>
                </a:lnTo>
                <a:lnTo>
                  <a:pt x="2730500" y="160020"/>
                </a:lnTo>
                <a:lnTo>
                  <a:pt x="3225800" y="104140"/>
                </a:lnTo>
                <a:lnTo>
                  <a:pt x="3451860" y="71120"/>
                </a:lnTo>
                <a:lnTo>
                  <a:pt x="3451860" y="0"/>
                </a:lnTo>
                <a:lnTo>
                  <a:pt x="2562860" y="124460"/>
                </a:lnTo>
                <a:lnTo>
                  <a:pt x="1869440" y="210820"/>
                </a:lnTo>
                <a:lnTo>
                  <a:pt x="1498600" y="248920"/>
                </a:lnTo>
                <a:lnTo>
                  <a:pt x="899160" y="396240"/>
                </a:lnTo>
                <a:lnTo>
                  <a:pt x="690880" y="416560"/>
                </a:lnTo>
                <a:lnTo>
                  <a:pt x="548640" y="398780"/>
                </a:lnTo>
                <a:lnTo>
                  <a:pt x="439420" y="373380"/>
                </a:lnTo>
                <a:lnTo>
                  <a:pt x="312420" y="381000"/>
                </a:lnTo>
                <a:lnTo>
                  <a:pt x="162560" y="368300"/>
                </a:lnTo>
                <a:lnTo>
                  <a:pt x="0" y="391160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48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CE9B4C4-8215-41B5-A550-D06E4B1DE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Commonwealth’s Strategic Economic opportunities for the future is designed around four big opportuniti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A9C36D-8EBD-4C60-A215-45F1C9EAF4B9}"/>
              </a:ext>
            </a:extLst>
          </p:cNvPr>
          <p:cNvSpPr>
            <a:spLocks noGrp="1"/>
          </p:cNvSpPr>
          <p:nvPr>
            <p:ph type="sldNum" sz="quarter" idx="10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3</a:t>
            </a:fld>
            <a:endParaRPr lang="en-US" sz="900" b="1">
              <a:solidFill>
                <a:schemeClr val="accent1"/>
              </a:solidFill>
            </a:endParaRPr>
          </a:p>
        </p:txBody>
      </p:sp>
      <p:graphicFrame>
        <p:nvGraphicFramePr>
          <p:cNvPr id="10" name="Content Placeholder 5">
            <a:extLst>
              <a:ext uri="{FF2B5EF4-FFF2-40B4-BE49-F238E27FC236}">
                <a16:creationId xmlns:a16="http://schemas.microsoft.com/office/drawing/2014/main" id="{1657EE47-4A12-460D-B40B-66EDF47BBFBE}"/>
              </a:ext>
            </a:extLst>
          </p:cNvPr>
          <p:cNvGraphicFramePr>
            <a:graphicFrameLocks noGrp="1"/>
          </p:cNvGraphicFramePr>
          <p:nvPr>
            <p:ph sz="quarter" idx="200"/>
          </p:nvPr>
        </p:nvGraphicFramePr>
        <p:xfrm>
          <a:off x="431799" y="1209813"/>
          <a:ext cx="8280399" cy="4906582"/>
        </p:xfrm>
        <a:graphic>
          <a:graphicData uri="http://schemas.openxmlformats.org/drawingml/2006/table">
            <a:tbl>
              <a:tblPr firstRow="1" bandRow="1">
                <a:tableStyleId>{73A6DA28-BB08-4E28-94E8-AB53A02DD50B}</a:tableStyleId>
              </a:tblPr>
              <a:tblGrid>
                <a:gridCol w="889001">
                  <a:extLst>
                    <a:ext uri="{9D8B030D-6E8A-4147-A177-3AD203B41FA5}">
                      <a16:colId xmlns:a16="http://schemas.microsoft.com/office/drawing/2014/main" val="2599791159"/>
                    </a:ext>
                  </a:extLst>
                </a:gridCol>
                <a:gridCol w="7391398">
                  <a:extLst>
                    <a:ext uri="{9D8B030D-6E8A-4147-A177-3AD203B41FA5}">
                      <a16:colId xmlns:a16="http://schemas.microsoft.com/office/drawing/2014/main" val="42864931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0" cmpd="sng">
                      <a:noFill/>
                    </a:lnL>
                    <a:lnR w="0" cmpd="sng">
                      <a:noFill/>
                    </a:lnR>
                    <a:lnT w="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Capture manufacturing reshoring and new supply chain opportunities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Industry analysis and surveys indicate a significant share of manufacturers will likely bring production and sourcing back to the United States in response to the COVID-19 pandemic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Additionally, as businesses around the world reconfigure their global supply chains and increase resiliency, many new opportunities will emerge for Virginia exporters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Virginia can capture these job-creation opportunities by investing in targeted business investment, international trade, and related support activities</a:t>
                      </a:r>
                    </a:p>
                  </a:txBody>
                  <a:tcPr>
                    <a:lnL w="0" cmpd="sng">
                      <a:noFill/>
                    </a:lnL>
                    <a:lnR w="0" cmpd="sng">
                      <a:noFill/>
                    </a:lnR>
                    <a:lnT w="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2043363"/>
                  </a:ext>
                </a:extLst>
              </a:tr>
              <a:tr h="1188720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Accelerate Digital Virginia (cloud computing, software, data centers)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COVID-19 pandemic has accelerated the transition towards a digital economy for businesses and consumers around the world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 an established U.S. tech leader, Virginia is well positioned to capitalize on these opportunities in software development, cloud computing, data centers, and other technologies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rginia can capture a larger share of this post-COVID tech wave by complementing existing efforts (e.g., TTIP) with targeted enhancements in our incentive programs, tax policy, and broadband infrastructure</a:t>
                      </a:r>
                    </a:p>
                  </a:txBody>
                  <a:tcPr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25940551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Seize telework transition opportunities, with special focus on rural and small metro regions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the widespread shift to telework during the pandemic, industry experts and business leaders are signaling that telework will become the (permanent) new normal for a much larger share of workers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rginia can capture these talented professionals (and the tax revenue they generate) by deploying creative incentive and marketing approaches that focus on both businesses and individuals that telework</a:t>
                      </a:r>
                    </a:p>
                  </a:txBody>
                  <a:tcPr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3175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0180664"/>
                  </a:ext>
                </a:extLst>
              </a:tr>
              <a:tr h="1447102"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4"/>
                        <a:tabLst/>
                        <a:defRPr/>
                      </a:pPr>
                      <a:endParaRPr lang="en-US" sz="11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4"/>
                        <a:tabLst/>
                        <a:defRPr/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</a:rPr>
                        <a:t>Retool and reskill </a:t>
                      </a:r>
                      <a:r>
                        <a:rPr lang="en-US" sz="11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rginia's (unemployed) workforce for post-COVID career opportunities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w-skill workers, women, and racial minorities were disproportionately impacted by the economic shock resulting from COVID-19, and likely will make up a significant share of the long-term unemployed in the absence of targeted efforts</a:t>
                      </a:r>
                    </a:p>
                    <a:p>
                      <a:pPr marL="508000" marR="0" lvl="0" indent="-2762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 addition to new job creation opportunities for the Commonwealth, we have an opportunity to connect displaced workers with higher-wage employment opportunities through workforce initiatives such as “</a:t>
                      </a:r>
                      <a:r>
                        <a:rPr lang="en-US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t Skilled, Get a Job, Give Back” (</a:t>
                      </a:r>
                      <a:r>
                        <a:rPr lang="en-US" sz="11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3), Virginia Talent Accelerator Program, Virginia Jobs Investment Program (VJIP), and targeted investments in sub-baccalaureate fields</a:t>
                      </a:r>
                    </a:p>
                  </a:txBody>
                  <a:tcPr>
                    <a:lnL w="0" cmpd="sng">
                      <a:noFill/>
                    </a:lnL>
                    <a:lnR w="0" cmpd="sng">
                      <a:noFill/>
                    </a:lnR>
                    <a:lnT w="3175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66195358"/>
                  </a:ext>
                </a:extLst>
              </a:tr>
            </a:tbl>
          </a:graphicData>
        </a:graphic>
      </p:graphicFrame>
      <p:pic>
        <p:nvPicPr>
          <p:cNvPr id="11" name="Graphic 10">
            <a:extLst>
              <a:ext uri="{FF2B5EF4-FFF2-40B4-BE49-F238E27FC236}">
                <a16:creationId xmlns:a16="http://schemas.microsoft.com/office/drawing/2014/main" id="{C7B5284E-81A0-4A24-8839-6598D969CE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68758" y="3799435"/>
            <a:ext cx="743523" cy="743523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977E0816-AB2E-4CCD-B8B6-E73A1E5877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68758" y="1238774"/>
            <a:ext cx="777240" cy="82296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4FC8CD7-3CC3-4F13-A857-5C68BF688EC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3358" y="4709431"/>
            <a:ext cx="804672" cy="80467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4F4142C7-8275-4CBD-88B3-AF8EFE4134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68758" y="2512661"/>
            <a:ext cx="777240" cy="77724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F23DD848-D8E4-4D19-B4A8-8AC71FC8614B}"/>
              </a:ext>
            </a:extLst>
          </p:cNvPr>
          <p:cNvGrpSpPr/>
          <p:nvPr/>
        </p:nvGrpSpPr>
        <p:grpSpPr>
          <a:xfrm>
            <a:off x="431798" y="6169267"/>
            <a:ext cx="7634516" cy="572483"/>
            <a:chOff x="431799" y="4053652"/>
            <a:chExt cx="8280400" cy="1742967"/>
          </a:xfrm>
        </p:grpSpPr>
        <p:sp>
          <p:nvSpPr>
            <p:cNvPr id="19" name="Text Placeholder 2">
              <a:extLst>
                <a:ext uri="{FF2B5EF4-FFF2-40B4-BE49-F238E27FC236}">
                  <a16:creationId xmlns:a16="http://schemas.microsoft.com/office/drawing/2014/main" id="{F12D42E2-4A44-4359-AB15-3544A92105BA}"/>
                </a:ext>
              </a:extLst>
            </p:cNvPr>
            <p:cNvSpPr txBox="1">
              <a:spLocks/>
            </p:cNvSpPr>
            <p:nvPr/>
          </p:nvSpPr>
          <p:spPr>
            <a:xfrm>
              <a:off x="431799" y="4126244"/>
              <a:ext cx="8280400" cy="1670375"/>
            </a:xfrm>
            <a:prstGeom prst="rect">
              <a:avLst/>
            </a:prstGeom>
            <a:ln w="12700">
              <a:solidFill>
                <a:schemeClr val="accent1"/>
              </a:solidFill>
            </a:ln>
          </p:spPr>
          <p:txBody>
            <a:bodyPr lIns="216000" tIns="137160" rIns="216000" bIns="137160" anchor="t"/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300"/>
                </a:spcAft>
                <a:buClrTx/>
                <a:buSzTx/>
                <a:buFont typeface="Wingdings" pitchFamily="2" charset="2"/>
                <a:buNone/>
                <a:tabLst/>
                <a:defRPr lang="en-US" sz="32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System Font Regular"/>
                <a:buNone/>
                <a:tabLst/>
                <a:defRPr lang="en-US" sz="14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Tx/>
                <a:buNone/>
                <a:tabLst/>
                <a:defRPr lang="en-US" sz="14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Tx/>
                <a:buNone/>
                <a:tabLst/>
                <a:defRPr lang="en-US" sz="14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Tx/>
                <a:buNone/>
                <a:tabLst/>
                <a:defRPr lang="en-US" sz="14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Tx/>
                <a:buNone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Tx/>
                <a:buNone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Tx/>
                <a:buNone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Tx/>
                <a:buNone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2" indent="-171450">
                <a:buFont typeface="Wingdings" panose="05000000000000000000" pitchFamily="2" charset="2"/>
                <a:buChar char="§"/>
                <a:defRPr/>
              </a:pPr>
              <a:r>
                <a:rPr lang="en-US" sz="1100"/>
                <a:t>Secures roughly 10,000 new direct jobs each year (~20,000 total jobs per year)</a:t>
              </a:r>
            </a:p>
            <a:p>
              <a:pPr marL="171450" lvl="2" indent="-171450">
                <a:buFont typeface="Wingdings" panose="05000000000000000000" pitchFamily="2" charset="2"/>
                <a:buChar char="§"/>
                <a:defRPr/>
              </a:pPr>
              <a:r>
                <a:rPr lang="en-US" sz="1100"/>
                <a:t>Generates roughly $50-75 million per year in additional state general fund revenue </a:t>
              </a:r>
            </a:p>
            <a:p>
              <a:pPr marL="171450" lvl="2" indent="-171450">
                <a:buFont typeface="Wingdings" panose="05000000000000000000" pitchFamily="2" charset="2"/>
                <a:buChar char="§"/>
                <a:defRPr/>
              </a:pPr>
              <a:endParaRPr lang="en-US" sz="1100"/>
            </a:p>
          </p:txBody>
        </p:sp>
        <p:sp>
          <p:nvSpPr>
            <p:cNvPr id="20" name="Text Placeholder 6">
              <a:extLst>
                <a:ext uri="{FF2B5EF4-FFF2-40B4-BE49-F238E27FC236}">
                  <a16:creationId xmlns:a16="http://schemas.microsoft.com/office/drawing/2014/main" id="{5BF0A64F-CAE9-48F8-B45C-5AA9C431AD83}"/>
                </a:ext>
              </a:extLst>
            </p:cNvPr>
            <p:cNvSpPr txBox="1">
              <a:spLocks/>
            </p:cNvSpPr>
            <p:nvPr/>
          </p:nvSpPr>
          <p:spPr>
            <a:xfrm>
              <a:off x="637576" y="4053652"/>
              <a:ext cx="640735" cy="166201"/>
            </a:xfrm>
            <a:prstGeom prst="rect">
              <a:avLst/>
            </a:prstGeom>
            <a:solidFill>
              <a:schemeClr val="bg1"/>
            </a:solidFill>
            <a:effectLst/>
          </p:spPr>
          <p:txBody>
            <a:bodyPr wrap="none" lIns="72000" tIns="0" rIns="72000" bIns="0" anchor="ctr">
              <a:spAutoFit/>
            </a:bodyPr>
            <a:lstStyle>
              <a:lvl1pPr marL="0" marR="0" indent="0" algn="ctr" defTabSz="914400" rtl="0" eaLnBrk="1" fontAlgn="auto" latinLnBrk="0" hangingPunct="1">
                <a:lnSpc>
                  <a:spcPct val="9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 sz="12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3175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tabLst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9525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Wingdings" pitchFamily="2" charset="2"/>
                <a:buNone/>
                <a:tabLst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9525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System Font Regular"/>
                <a:buNone/>
                <a:tabLst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9525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None/>
                <a:tabLst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9525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System Font Regular"/>
                <a:buNone/>
                <a:tabLst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9525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System Font Regular"/>
                <a:buNone/>
                <a:tabLst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9525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System Font Regular"/>
                <a:buNone/>
                <a:tabLst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9525" indent="0" algn="ctr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Font typeface="System Font Regular"/>
                <a:buNone/>
                <a:tabLst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/>
                <a:t>Impac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946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703CEFA9-2578-46EC-9D67-F1D4133428A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1" cy="6858001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EACBF5-0338-460A-911A-B60739647DAA}"/>
              </a:ext>
            </a:extLst>
          </p:cNvPr>
          <p:cNvSpPr>
            <a:spLocks noGrp="1"/>
          </p:cNvSpPr>
          <p:nvPr>
            <p:ph type="body" sz="quarter" idx="500"/>
          </p:nvPr>
        </p:nvSpPr>
        <p:spPr/>
        <p:txBody>
          <a:bodyPr/>
          <a:lstStyle/>
          <a:p>
            <a:r>
              <a:rPr lang="en-US"/>
              <a:t>Virginia State Fla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1DB85B-A1AE-4D0C-825E-48138DED87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4</a:t>
            </a:fld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3FECDCD6-6406-4BA1-877E-BDDB13E8BC40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5960284" cy="6857999"/>
          </a:xfrm>
          <a:custGeom>
            <a:avLst/>
            <a:gdLst>
              <a:gd name="connsiteX0" fmla="*/ 0 w 5960284"/>
              <a:gd name="connsiteY0" fmla="*/ 0 h 6857999"/>
              <a:gd name="connsiteX1" fmla="*/ 2705820 w 5960284"/>
              <a:gd name="connsiteY1" fmla="*/ 0 h 6857999"/>
              <a:gd name="connsiteX2" fmla="*/ 5960284 w 5960284"/>
              <a:gd name="connsiteY2" fmla="*/ 6857999 h 6857999"/>
              <a:gd name="connsiteX3" fmla="*/ 0 w 5960284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0284" h="6857999">
                <a:moveTo>
                  <a:pt x="0" y="0"/>
                </a:moveTo>
                <a:lnTo>
                  <a:pt x="2705820" y="0"/>
                </a:lnTo>
                <a:lnTo>
                  <a:pt x="5960284" y="6857999"/>
                </a:lnTo>
                <a:lnTo>
                  <a:pt x="0" y="6857999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95000"/>
                </a:schemeClr>
              </a:gs>
              <a:gs pos="97000">
                <a:schemeClr val="accent1">
                  <a:alpha val="80000"/>
                </a:schemeClr>
              </a:gs>
            </a:gsLst>
            <a:lin ang="5400000" scaled="0"/>
          </a:gradFill>
        </p:spPr>
        <p:txBody>
          <a:bodyPr vert="horz" wrap="square" lIns="432000" tIns="360000" rIns="1080000" bIns="612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udget update</a:t>
            </a:r>
          </a:p>
        </p:txBody>
      </p:sp>
    </p:spTree>
    <p:extLst>
      <p:ext uri="{BB962C8B-B14F-4D97-AF65-F5344CB8AC3E}">
        <p14:creationId xmlns:p14="http://schemas.microsoft.com/office/powerpoint/2010/main" val="990567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C41E02-EA94-42BC-B4E7-2117415BC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DP OPERATIONAL BUDGET initiativ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E73C1F-1FE3-462F-A92D-CF6B28BE7D22}"/>
              </a:ext>
            </a:extLst>
          </p:cNvPr>
          <p:cNvSpPr>
            <a:spLocks noGrp="1"/>
          </p:cNvSpPr>
          <p:nvPr>
            <p:ph type="sldNum" sz="quarter" idx="10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5</a:t>
            </a:fld>
            <a:endParaRPr lang="en-US" sz="900" b="1" dirty="0">
              <a:solidFill>
                <a:schemeClr val="accent1"/>
              </a:solidFill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84DC7D6F-2D0E-4CEB-A5FC-47737C56523C}"/>
              </a:ext>
            </a:extLst>
          </p:cNvPr>
          <p:cNvGraphicFramePr>
            <a:graphicFrameLocks noGrp="1"/>
          </p:cNvGraphicFramePr>
          <p:nvPr>
            <p:ph sz="quarter" idx="200"/>
            <p:extLst>
              <p:ext uri="{D42A27DB-BD31-4B8C-83A1-F6EECF244321}">
                <p14:modId xmlns:p14="http://schemas.microsoft.com/office/powerpoint/2010/main" val="2956329010"/>
              </p:ext>
            </p:extLst>
          </p:nvPr>
        </p:nvGraphicFramePr>
        <p:xfrm>
          <a:off x="431799" y="1233487"/>
          <a:ext cx="8275320" cy="5028909"/>
        </p:xfrm>
        <a:graphic>
          <a:graphicData uri="http://schemas.openxmlformats.org/drawingml/2006/table">
            <a:tbl>
              <a:tblPr firstRow="1" bandRow="1">
                <a:tableStyleId>{73A6DA28-BB08-4E28-94E8-AB53A02DD50B}</a:tableStyleId>
              </a:tblPr>
              <a:tblGrid>
                <a:gridCol w="1965960">
                  <a:extLst>
                    <a:ext uri="{9D8B030D-6E8A-4147-A177-3AD203B41FA5}">
                      <a16:colId xmlns:a16="http://schemas.microsoft.com/office/drawing/2014/main" val="1556861982"/>
                    </a:ext>
                  </a:extLst>
                </a:gridCol>
                <a:gridCol w="3291840">
                  <a:extLst>
                    <a:ext uri="{9D8B030D-6E8A-4147-A177-3AD203B41FA5}">
                      <a16:colId xmlns:a16="http://schemas.microsoft.com/office/drawing/2014/main" val="3386565770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1271362458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2571489202"/>
                    </a:ext>
                  </a:extLst>
                </a:gridCol>
                <a:gridCol w="658368">
                  <a:extLst>
                    <a:ext uri="{9D8B030D-6E8A-4147-A177-3AD203B41FA5}">
                      <a16:colId xmlns:a16="http://schemas.microsoft.com/office/drawing/2014/main" val="1014906053"/>
                    </a:ext>
                  </a:extLst>
                </a:gridCol>
                <a:gridCol w="804672">
                  <a:extLst>
                    <a:ext uri="{9D8B030D-6E8A-4147-A177-3AD203B41FA5}">
                      <a16:colId xmlns:a16="http://schemas.microsoft.com/office/drawing/2014/main" val="343428954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931237687"/>
                    </a:ext>
                  </a:extLst>
                </a:gridCol>
              </a:tblGrid>
              <a:tr h="432475">
                <a:tc rowSpan="2">
                  <a:txBody>
                    <a:bodyPr/>
                    <a:lstStyle/>
                    <a:p>
                      <a:r>
                        <a:rPr lang="en-US" sz="1100" dirty="0"/>
                        <a:t>Initiative</a:t>
                      </a:r>
                    </a:p>
                  </a:txBody>
                  <a:tcPr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accent1"/>
                          </a:solidFill>
                        </a:rPr>
                        <a:t>Impact</a:t>
                      </a:r>
                      <a:r>
                        <a:rPr lang="en-US" sz="1100" b="1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100" b="1" kern="1200" dirty="0">
                          <a:solidFill>
                            <a:schemeClr val="accent1"/>
                          </a:solidFill>
                        </a:rPr>
                        <a:t>comment</a:t>
                      </a:r>
                      <a:endParaRPr lang="en-US" sz="11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b">
                    <a:lnR w="0" cmpd="sng">
                      <a:noFill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dditional investment ($M)</a:t>
                      </a:r>
                    </a:p>
                  </a:txBody>
                  <a:tcPr marL="0" marR="0" anchor="b">
                    <a:lnL w="0" cmpd="sng">
                      <a:noFill/>
                    </a:lnL>
                    <a:lnR w="0" cmpd="sng">
                      <a:noFill/>
                    </a:lnR>
                    <a:lnT w="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2"/>
                      <a:stretch>
                        <a:fillRect/>
                      </a:stretch>
                    </a:blip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unding status in </a:t>
                      </a:r>
                      <a:br>
                        <a:rPr lang="en-US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Biennium Budget</a:t>
                      </a:r>
                    </a:p>
                  </a:txBody>
                  <a:tcPr anchor="b">
                    <a:lnL w="0" cmpd="sng">
                      <a:noFill/>
                    </a:lnL>
                    <a:lnR w="0" cmpd="sng">
                      <a:noFill/>
                    </a:lnR>
                    <a:lnT w="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2"/>
                      <a:stretch>
                        <a:fillRect/>
                      </a:stretch>
                    </a:blip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dirty="0"/>
                    </a:p>
                  </a:txBody>
                  <a:tcPr anchor="b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34556419"/>
                  </a:ext>
                </a:extLst>
              </a:tr>
              <a:tr h="4015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/>
                        <a:t>FY21</a:t>
                      </a:r>
                      <a:endParaRPr lang="en-US" sz="1050" b="1" dirty="0"/>
                    </a:p>
                  </a:txBody>
                  <a:tcPr anchor="b">
                    <a:lnL w="1270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/>
                        <a:t>FY22</a:t>
                      </a:r>
                      <a:endParaRPr lang="en-US" sz="1050" b="1" dirty="0"/>
                    </a:p>
                  </a:txBody>
                  <a:tcPr anchor="b"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llotted</a:t>
                      </a:r>
                    </a:p>
                  </a:txBody>
                  <a:tcPr anchor="b">
                    <a:lnL w="0" cmpd="sng">
                      <a:noFill/>
                    </a:lnL>
                    <a:lnR w="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/>
                        <a:t>Unallotted </a:t>
                      </a:r>
                      <a:endParaRPr lang="en-US" b="1" dirty="0"/>
                    </a:p>
                  </a:txBody>
                  <a:tcPr anchor="b">
                    <a:lnL w="0" cmpd="sng">
                      <a:noFill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/>
                        <a:t>Not incl.</a:t>
                      </a:r>
                    </a:p>
                  </a:txBody>
                  <a:tcPr anchor="b"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2836438"/>
                  </a:ext>
                </a:extLst>
              </a:tr>
              <a:tr h="955572">
                <a:tc>
                  <a:txBody>
                    <a:bodyPr/>
                    <a:lstStyle/>
                    <a:p>
                      <a:r>
                        <a:rPr lang="en-US" sz="1100" dirty="0"/>
                        <a:t>Expansion of the Virginia Talent Accelerator Program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en-US" sz="1100" dirty="0"/>
                        <a:t>Expansion of program enables projects to be completed in every region of VA. Program will be ranked in the top 3-5 states in the country within 3 years. VA will secure projects with 1,500-2,500 additional rural/small metro jobs/year by 2021.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976369"/>
                  </a:ext>
                </a:extLst>
              </a:tr>
              <a:tr h="877078">
                <a:tc>
                  <a:txBody>
                    <a:bodyPr/>
                    <a:lstStyle/>
                    <a:p>
                      <a:r>
                        <a:rPr lang="en-US" sz="1100" dirty="0"/>
                        <a:t>Majority restoration of the Virginia Jobs Investment Program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The VJIP program is VA’s most commonly used economic development incentive program, providing grant funding for workforce training needs for new and expansion projects in Virginia.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0" dirty="0"/>
                        <a:t>2.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0" dirty="0"/>
                        <a:t>2.0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573444250"/>
                  </a:ext>
                </a:extLst>
              </a:tr>
              <a:tr h="942178">
                <a:tc>
                  <a:txBody>
                    <a:bodyPr/>
                    <a:lstStyle/>
                    <a:p>
                      <a:r>
                        <a:rPr lang="en-US" sz="1100" dirty="0"/>
                        <a:t>Expansion of Virginia Business-Ready Sites Pro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This initiative addresses one of the most common reasons Virginia loses projects (often no. 1). The program is structured to build a portfolio of project-ready sites in every region of the Commonwealth, specifically to fill the lack of industrial sites over 100 contiguous acres.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891586"/>
                  </a:ext>
                </a:extLst>
              </a:tr>
              <a:tr h="1207382">
                <a:tc>
                  <a:txBody>
                    <a:bodyPr/>
                    <a:lstStyle/>
                    <a:p>
                      <a:r>
                        <a:rPr lang="en-US" sz="1100" dirty="0"/>
                        <a:t>Trade development initiatives in new VA International Trade Pl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en-US" sz="1100" dirty="0"/>
                        <a:t>Proposal envisions a four-year implementation (FY21-FY24) of the VEDP trade development services initiatives included in the Governor’s international trade plan. Virginia will increase export activity ($200MM or more annually), diversify our economy, and modestly increase well-compensated job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757794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831535C-B53C-4E55-8E57-5221E99A2B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527" y="2547625"/>
            <a:ext cx="246888" cy="23325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E7D28A2-F7D0-4532-826E-8E3A1D20B90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18" y="2547625"/>
            <a:ext cx="246888" cy="2332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AD37B00-1C03-4E5A-8D5F-0D020BF0BD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09" y="2547625"/>
            <a:ext cx="246888" cy="23325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5318169-3612-4742-B373-AC5A4D435C8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1401" y="2547625"/>
            <a:ext cx="246888" cy="2332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E9DFA2-738E-41D2-A98F-96F2855803B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7023" y="2547625"/>
            <a:ext cx="246888" cy="23325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B6D036A-831E-4998-A455-FE30DC77D2E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2645" y="2547625"/>
            <a:ext cx="246888" cy="23325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F9740A6-E1E0-4B06-9A98-94B49C2B9C7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8267" y="2547625"/>
            <a:ext cx="246888" cy="23325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324D86-E179-4AA5-8D34-9195A30790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527" y="3610849"/>
            <a:ext cx="246888" cy="2332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CE966E8-7C8C-4530-851E-C8C1162610D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18" y="3610849"/>
            <a:ext cx="246888" cy="23325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ECD8A9E-E632-4B23-9937-62F3D44B75C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09" y="3610849"/>
            <a:ext cx="246888" cy="23325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51A7D1-8B3A-45A3-BA6C-C2ADD286535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1401" y="3610849"/>
            <a:ext cx="246888" cy="23325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C947FE4-7762-452A-A5BC-25FB75A3D75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7023" y="3610849"/>
            <a:ext cx="246888" cy="23325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E159884-0803-4E03-BDF9-64F1342001E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2645" y="3610849"/>
            <a:ext cx="246888" cy="23325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EAE4F4F-2E7B-4533-B888-673F7FB5C4E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8267" y="3610849"/>
            <a:ext cx="246888" cy="23325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4AE8CEA-7509-4B84-A1A4-7937B4BF86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527" y="4529457"/>
            <a:ext cx="246888" cy="23325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66AD5D5-281C-4F8C-B66F-D569B41A828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18" y="4529457"/>
            <a:ext cx="246888" cy="23325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3779284-D2E3-4380-AA5F-368AEC348CE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09" y="4529457"/>
            <a:ext cx="246888" cy="23325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CB3A76F-D613-440C-AF83-45E0856E34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1401" y="4529457"/>
            <a:ext cx="246888" cy="23325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BBBE5FE-94AE-4A15-A4EF-326C56AE925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7023" y="4529457"/>
            <a:ext cx="246888" cy="23325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9B977C5-F87D-4022-88EB-08EBFD47F8B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2645" y="4529457"/>
            <a:ext cx="246888" cy="23325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3F64F58-7AC5-47B1-9AC9-C6443C96050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8267" y="4529457"/>
            <a:ext cx="246888" cy="23325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9BEC0F1-7688-42E5-BFD8-F8269F0DF2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527" y="5684440"/>
            <a:ext cx="246888" cy="23325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D958F7D-D26E-470C-8877-29AD127F22E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18" y="5684440"/>
            <a:ext cx="246888" cy="23325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8007A5C-4ACA-4C35-860F-DB96FEB4196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109" y="5684440"/>
            <a:ext cx="246888" cy="23325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87B3BC5-CBBC-4943-A403-EFBC97B8A73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1401" y="5684440"/>
            <a:ext cx="246888" cy="233259"/>
          </a:xfrm>
          <a:prstGeom prst="rect">
            <a:avLst/>
          </a:prstGeom>
        </p:spPr>
      </p:pic>
      <p:sp>
        <p:nvSpPr>
          <p:cNvPr id="32" name="Graphic 118">
            <a:extLst>
              <a:ext uri="{FF2B5EF4-FFF2-40B4-BE49-F238E27FC236}">
                <a16:creationId xmlns:a16="http://schemas.microsoft.com/office/drawing/2014/main" id="{BB9A7495-0A98-4A10-8488-CF98580D7D6E}"/>
              </a:ext>
            </a:extLst>
          </p:cNvPr>
          <p:cNvSpPr/>
          <p:nvPr/>
        </p:nvSpPr>
        <p:spPr>
          <a:xfrm>
            <a:off x="7787064" y="2099369"/>
            <a:ext cx="206573" cy="238081"/>
          </a:xfrm>
          <a:custGeom>
            <a:avLst/>
            <a:gdLst>
              <a:gd name="connsiteX0" fmla="*/ 207373 w 206573"/>
              <a:gd name="connsiteY0" fmla="*/ 0 h 238081"/>
              <a:gd name="connsiteX1" fmla="*/ 145724 w 206573"/>
              <a:gd name="connsiteY1" fmla="*/ 0 h 238081"/>
              <a:gd name="connsiteX2" fmla="*/ 72948 w 206573"/>
              <a:gd name="connsiteY2" fmla="*/ 145382 h 238081"/>
              <a:gd name="connsiteX3" fmla="*/ 57840 w 206573"/>
              <a:gd name="connsiteY3" fmla="*/ 115279 h 238081"/>
              <a:gd name="connsiteX4" fmla="*/ 0 w 206573"/>
              <a:gd name="connsiteY4" fmla="*/ 115279 h 238081"/>
              <a:gd name="connsiteX5" fmla="*/ 69083 w 206573"/>
              <a:gd name="connsiteY5" fmla="*/ 238081 h 238081"/>
              <a:gd name="connsiteX6" fmla="*/ 75461 w 206573"/>
              <a:gd name="connsiteY6" fmla="*/ 238081 h 238081"/>
              <a:gd name="connsiteX7" fmla="*/ 187363 w 206573"/>
              <a:gd name="connsiteY7" fmla="*/ 36455 h 238081"/>
              <a:gd name="connsiteX8" fmla="*/ 187172 w 206573"/>
              <a:gd name="connsiteY8" fmla="*/ 36455 h 238081"/>
              <a:gd name="connsiteX9" fmla="*/ 207373 w 206573"/>
              <a:gd name="connsiteY9" fmla="*/ 0 h 23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6573" h="238081">
                <a:moveTo>
                  <a:pt x="207373" y="0"/>
                </a:moveTo>
                <a:lnTo>
                  <a:pt x="145724" y="0"/>
                </a:lnTo>
                <a:lnTo>
                  <a:pt x="72948" y="145382"/>
                </a:lnTo>
                <a:lnTo>
                  <a:pt x="57840" y="115279"/>
                </a:lnTo>
                <a:lnTo>
                  <a:pt x="0" y="115279"/>
                </a:lnTo>
                <a:lnTo>
                  <a:pt x="69083" y="238081"/>
                </a:lnTo>
                <a:lnTo>
                  <a:pt x="75461" y="238081"/>
                </a:lnTo>
                <a:lnTo>
                  <a:pt x="187363" y="36455"/>
                </a:lnTo>
                <a:lnTo>
                  <a:pt x="187172" y="36455"/>
                </a:lnTo>
                <a:lnTo>
                  <a:pt x="207373" y="0"/>
                </a:lnTo>
                <a:close/>
              </a:path>
            </a:pathLst>
          </a:custGeom>
          <a:solidFill>
            <a:schemeClr val="accent2"/>
          </a:solidFill>
          <a:ln w="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Graphic 118">
            <a:extLst>
              <a:ext uri="{FF2B5EF4-FFF2-40B4-BE49-F238E27FC236}">
                <a16:creationId xmlns:a16="http://schemas.microsoft.com/office/drawing/2014/main" id="{87C55DEA-AFCF-493A-8311-5931AE180231}"/>
              </a:ext>
            </a:extLst>
          </p:cNvPr>
          <p:cNvSpPr/>
          <p:nvPr/>
        </p:nvSpPr>
        <p:spPr>
          <a:xfrm>
            <a:off x="7787064" y="3084291"/>
            <a:ext cx="206573" cy="238081"/>
          </a:xfrm>
          <a:custGeom>
            <a:avLst/>
            <a:gdLst>
              <a:gd name="connsiteX0" fmla="*/ 207373 w 206573"/>
              <a:gd name="connsiteY0" fmla="*/ 0 h 238081"/>
              <a:gd name="connsiteX1" fmla="*/ 145724 w 206573"/>
              <a:gd name="connsiteY1" fmla="*/ 0 h 238081"/>
              <a:gd name="connsiteX2" fmla="*/ 72948 w 206573"/>
              <a:gd name="connsiteY2" fmla="*/ 145382 h 238081"/>
              <a:gd name="connsiteX3" fmla="*/ 57840 w 206573"/>
              <a:gd name="connsiteY3" fmla="*/ 115279 h 238081"/>
              <a:gd name="connsiteX4" fmla="*/ 0 w 206573"/>
              <a:gd name="connsiteY4" fmla="*/ 115279 h 238081"/>
              <a:gd name="connsiteX5" fmla="*/ 69083 w 206573"/>
              <a:gd name="connsiteY5" fmla="*/ 238081 h 238081"/>
              <a:gd name="connsiteX6" fmla="*/ 75461 w 206573"/>
              <a:gd name="connsiteY6" fmla="*/ 238081 h 238081"/>
              <a:gd name="connsiteX7" fmla="*/ 187363 w 206573"/>
              <a:gd name="connsiteY7" fmla="*/ 36455 h 238081"/>
              <a:gd name="connsiteX8" fmla="*/ 187172 w 206573"/>
              <a:gd name="connsiteY8" fmla="*/ 36455 h 238081"/>
              <a:gd name="connsiteX9" fmla="*/ 207373 w 206573"/>
              <a:gd name="connsiteY9" fmla="*/ 0 h 23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6573" h="238081">
                <a:moveTo>
                  <a:pt x="207373" y="0"/>
                </a:moveTo>
                <a:lnTo>
                  <a:pt x="145724" y="0"/>
                </a:lnTo>
                <a:lnTo>
                  <a:pt x="72948" y="145382"/>
                </a:lnTo>
                <a:lnTo>
                  <a:pt x="57840" y="115279"/>
                </a:lnTo>
                <a:lnTo>
                  <a:pt x="0" y="115279"/>
                </a:lnTo>
                <a:lnTo>
                  <a:pt x="69083" y="238081"/>
                </a:lnTo>
                <a:lnTo>
                  <a:pt x="75461" y="238081"/>
                </a:lnTo>
                <a:lnTo>
                  <a:pt x="187363" y="36455"/>
                </a:lnTo>
                <a:lnTo>
                  <a:pt x="187172" y="36455"/>
                </a:lnTo>
                <a:lnTo>
                  <a:pt x="207373" y="0"/>
                </a:lnTo>
                <a:close/>
              </a:path>
            </a:pathLst>
          </a:custGeom>
          <a:solidFill>
            <a:schemeClr val="accent2"/>
          </a:solidFill>
          <a:ln w="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4" name="Graphic 118">
            <a:extLst>
              <a:ext uri="{FF2B5EF4-FFF2-40B4-BE49-F238E27FC236}">
                <a16:creationId xmlns:a16="http://schemas.microsoft.com/office/drawing/2014/main" id="{4D5990CF-002C-4D1A-8AAA-69C58675D453}"/>
              </a:ext>
            </a:extLst>
          </p:cNvPr>
          <p:cNvSpPr/>
          <p:nvPr/>
        </p:nvSpPr>
        <p:spPr>
          <a:xfrm>
            <a:off x="7787064" y="3950172"/>
            <a:ext cx="206573" cy="238081"/>
          </a:xfrm>
          <a:custGeom>
            <a:avLst/>
            <a:gdLst>
              <a:gd name="connsiteX0" fmla="*/ 207373 w 206573"/>
              <a:gd name="connsiteY0" fmla="*/ 0 h 238081"/>
              <a:gd name="connsiteX1" fmla="*/ 145724 w 206573"/>
              <a:gd name="connsiteY1" fmla="*/ 0 h 238081"/>
              <a:gd name="connsiteX2" fmla="*/ 72948 w 206573"/>
              <a:gd name="connsiteY2" fmla="*/ 145382 h 238081"/>
              <a:gd name="connsiteX3" fmla="*/ 57840 w 206573"/>
              <a:gd name="connsiteY3" fmla="*/ 115279 h 238081"/>
              <a:gd name="connsiteX4" fmla="*/ 0 w 206573"/>
              <a:gd name="connsiteY4" fmla="*/ 115279 h 238081"/>
              <a:gd name="connsiteX5" fmla="*/ 69083 w 206573"/>
              <a:gd name="connsiteY5" fmla="*/ 238081 h 238081"/>
              <a:gd name="connsiteX6" fmla="*/ 75461 w 206573"/>
              <a:gd name="connsiteY6" fmla="*/ 238081 h 238081"/>
              <a:gd name="connsiteX7" fmla="*/ 187363 w 206573"/>
              <a:gd name="connsiteY7" fmla="*/ 36455 h 238081"/>
              <a:gd name="connsiteX8" fmla="*/ 187172 w 206573"/>
              <a:gd name="connsiteY8" fmla="*/ 36455 h 238081"/>
              <a:gd name="connsiteX9" fmla="*/ 207373 w 206573"/>
              <a:gd name="connsiteY9" fmla="*/ 0 h 23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6573" h="238081">
                <a:moveTo>
                  <a:pt x="207373" y="0"/>
                </a:moveTo>
                <a:lnTo>
                  <a:pt x="145724" y="0"/>
                </a:lnTo>
                <a:lnTo>
                  <a:pt x="72948" y="145382"/>
                </a:lnTo>
                <a:lnTo>
                  <a:pt x="57840" y="115279"/>
                </a:lnTo>
                <a:lnTo>
                  <a:pt x="0" y="115279"/>
                </a:lnTo>
                <a:lnTo>
                  <a:pt x="69083" y="238081"/>
                </a:lnTo>
                <a:lnTo>
                  <a:pt x="75461" y="238081"/>
                </a:lnTo>
                <a:lnTo>
                  <a:pt x="187363" y="36455"/>
                </a:lnTo>
                <a:lnTo>
                  <a:pt x="187172" y="36455"/>
                </a:lnTo>
                <a:lnTo>
                  <a:pt x="207373" y="0"/>
                </a:lnTo>
                <a:close/>
              </a:path>
            </a:pathLst>
          </a:custGeom>
          <a:solidFill>
            <a:schemeClr val="accent2"/>
          </a:solidFill>
          <a:ln w="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5" name="Graphic 118">
            <a:extLst>
              <a:ext uri="{FF2B5EF4-FFF2-40B4-BE49-F238E27FC236}">
                <a16:creationId xmlns:a16="http://schemas.microsoft.com/office/drawing/2014/main" id="{7210ADB3-9E50-4909-8DE3-8FA28BF68109}"/>
              </a:ext>
            </a:extLst>
          </p:cNvPr>
          <p:cNvSpPr/>
          <p:nvPr/>
        </p:nvSpPr>
        <p:spPr>
          <a:xfrm>
            <a:off x="8432533" y="5072955"/>
            <a:ext cx="206573" cy="238081"/>
          </a:xfrm>
          <a:custGeom>
            <a:avLst/>
            <a:gdLst>
              <a:gd name="connsiteX0" fmla="*/ 207373 w 206573"/>
              <a:gd name="connsiteY0" fmla="*/ 0 h 238081"/>
              <a:gd name="connsiteX1" fmla="*/ 145724 w 206573"/>
              <a:gd name="connsiteY1" fmla="*/ 0 h 238081"/>
              <a:gd name="connsiteX2" fmla="*/ 72948 w 206573"/>
              <a:gd name="connsiteY2" fmla="*/ 145382 h 238081"/>
              <a:gd name="connsiteX3" fmla="*/ 57840 w 206573"/>
              <a:gd name="connsiteY3" fmla="*/ 115279 h 238081"/>
              <a:gd name="connsiteX4" fmla="*/ 0 w 206573"/>
              <a:gd name="connsiteY4" fmla="*/ 115279 h 238081"/>
              <a:gd name="connsiteX5" fmla="*/ 69083 w 206573"/>
              <a:gd name="connsiteY5" fmla="*/ 238081 h 238081"/>
              <a:gd name="connsiteX6" fmla="*/ 75461 w 206573"/>
              <a:gd name="connsiteY6" fmla="*/ 238081 h 238081"/>
              <a:gd name="connsiteX7" fmla="*/ 187363 w 206573"/>
              <a:gd name="connsiteY7" fmla="*/ 36455 h 238081"/>
              <a:gd name="connsiteX8" fmla="*/ 187172 w 206573"/>
              <a:gd name="connsiteY8" fmla="*/ 36455 h 238081"/>
              <a:gd name="connsiteX9" fmla="*/ 207373 w 206573"/>
              <a:gd name="connsiteY9" fmla="*/ 0 h 23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6573" h="238081">
                <a:moveTo>
                  <a:pt x="207373" y="0"/>
                </a:moveTo>
                <a:lnTo>
                  <a:pt x="145724" y="0"/>
                </a:lnTo>
                <a:lnTo>
                  <a:pt x="72948" y="145382"/>
                </a:lnTo>
                <a:lnTo>
                  <a:pt x="57840" y="115279"/>
                </a:lnTo>
                <a:lnTo>
                  <a:pt x="0" y="115279"/>
                </a:lnTo>
                <a:lnTo>
                  <a:pt x="69083" y="238081"/>
                </a:lnTo>
                <a:lnTo>
                  <a:pt x="75461" y="238081"/>
                </a:lnTo>
                <a:lnTo>
                  <a:pt x="187363" y="36455"/>
                </a:lnTo>
                <a:lnTo>
                  <a:pt x="187172" y="36455"/>
                </a:lnTo>
                <a:lnTo>
                  <a:pt x="207373" y="0"/>
                </a:lnTo>
                <a:close/>
              </a:path>
            </a:pathLst>
          </a:custGeom>
          <a:solidFill>
            <a:schemeClr val="accent2"/>
          </a:solidFill>
          <a:ln w="9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368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outdoor, table, building, sitting&#10;&#10;Description automatically generated">
            <a:extLst>
              <a:ext uri="{FF2B5EF4-FFF2-40B4-BE49-F238E27FC236}">
                <a16:creationId xmlns:a16="http://schemas.microsoft.com/office/drawing/2014/main" id="{CE1D1B3B-3136-48E9-895C-7392CB95506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692AAD4-C946-428B-B594-34045B1D3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initiativ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B4D533-4E64-4B1A-B0E1-80988E3EA3A9}"/>
              </a:ext>
            </a:extLst>
          </p:cNvPr>
          <p:cNvSpPr>
            <a:spLocks noGrp="1"/>
          </p:cNvSpPr>
          <p:nvPr>
            <p:ph type="body" sz="quarter" idx="500"/>
          </p:nvPr>
        </p:nvSpPr>
        <p:spPr/>
        <p:txBody>
          <a:bodyPr/>
          <a:lstStyle/>
          <a:p>
            <a:r>
              <a:rPr lang="en-US"/>
              <a:t>Virginia State Capit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969658-DBC0-46A5-821B-A6F74C63F41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387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29E1B-4195-408E-9DA5-6FB8E9E78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</a:t>
            </a:r>
            <a:r>
              <a:rPr lang="en-US"/>
              <a:t>government resourc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ACD3B7-C9D6-4C82-81C9-C9A43C04CB27}"/>
              </a:ext>
            </a:extLst>
          </p:cNvPr>
          <p:cNvSpPr>
            <a:spLocks noGrp="1"/>
          </p:cNvSpPr>
          <p:nvPr>
            <p:ph sz="quarter" idx="104"/>
          </p:nvPr>
        </p:nvSpPr>
        <p:spPr/>
        <p:txBody>
          <a:bodyPr/>
          <a:lstStyle/>
          <a:p>
            <a:r>
              <a:rPr lang="en-US" dirty="0"/>
              <a:t>Current initiativ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i="1" dirty="0">
                <a:solidFill>
                  <a:schemeClr val="tx1"/>
                </a:solidFill>
              </a:rPr>
              <a:t>Virginia Economic Review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1"/>
                </a:solidFill>
              </a:rPr>
              <a:t>Quarterly Partner Repor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1"/>
                </a:solidFill>
              </a:rPr>
              <a:t>Local and Regional Competitiveness Initiative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1"/>
                </a:solidFill>
              </a:rPr>
              <a:t>impactED sessions with VED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1"/>
                </a:solidFill>
              </a:rPr>
              <a:t>ED 101 session geared toward Chief Administrative Offic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0" dirty="0">
                <a:solidFill>
                  <a:schemeClr val="tx1"/>
                </a:solidFill>
              </a:rPr>
              <a:t>Virtual VEDP Orientation</a:t>
            </a:r>
          </a:p>
          <a:p>
            <a:endParaRPr lang="en-US" dirty="0"/>
          </a:p>
        </p:txBody>
      </p:sp>
      <p:pic>
        <p:nvPicPr>
          <p:cNvPr id="8" name="Content Placeholder 7" descr="A bunch of different types of food&#10;&#10;Description automatically generated">
            <a:extLst>
              <a:ext uri="{FF2B5EF4-FFF2-40B4-BE49-F238E27FC236}">
                <a16:creationId xmlns:a16="http://schemas.microsoft.com/office/drawing/2014/main" id="{508CEA8D-9A1C-4500-A668-1E398E9DFBA8}"/>
              </a:ext>
            </a:extLst>
          </p:cNvPr>
          <p:cNvPicPr>
            <a:picLocks noGrp="1" noChangeAspect="1"/>
          </p:cNvPicPr>
          <p:nvPr>
            <p:ph sz="quarter" idx="10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696" y="1233488"/>
            <a:ext cx="3580570" cy="4932362"/>
          </a:xfrm>
        </p:spPr>
      </p:pic>
      <p:sp>
        <p:nvSpPr>
          <p:cNvPr id="5" name="Subtitle 4">
            <a:extLst>
              <a:ext uri="{FF2B5EF4-FFF2-40B4-BE49-F238E27FC236}">
                <a16:creationId xmlns:a16="http://schemas.microsoft.com/office/drawing/2014/main" id="{8AE7B483-C0CA-445A-B6BB-F77FB343851E}"/>
              </a:ext>
            </a:extLst>
          </p:cNvPr>
          <p:cNvSpPr>
            <a:spLocks noGrp="1"/>
          </p:cNvSpPr>
          <p:nvPr>
            <p:ph type="subTitle" sz="quarter" idx="100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4BE1D9-C76D-4C2D-94E7-4905E14D7E43}"/>
              </a:ext>
            </a:extLst>
          </p:cNvPr>
          <p:cNvSpPr>
            <a:spLocks noGrp="1"/>
          </p:cNvSpPr>
          <p:nvPr>
            <p:ph type="sldNum" sz="quarter" idx="108"/>
          </p:nvPr>
        </p:nvSpPr>
        <p:spPr/>
        <p:txBody>
          <a:bodyPr/>
          <a:lstStyle/>
          <a:p>
            <a:pPr marL="12700">
              <a:buFont typeface="Arial" panose="020B0604020202020204" pitchFamily="34" charset="0"/>
              <a:buNone/>
            </a:pPr>
            <a:fld id="{078C017C-E1B9-8443-B047-B08AAA027B45}" type="slidenum">
              <a:rPr lang="en-US" smtClean="0"/>
              <a:pPr marL="12700">
                <a:buFont typeface="Arial" panose="020B0604020202020204" pitchFamily="34" charset="0"/>
                <a:buNone/>
              </a:pPr>
              <a:t>7</a:t>
            </a:fld>
            <a:endParaRPr lang="en-US" sz="9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0336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QsaYr3ErC48VjAnlYW6w"/>
</p:tagLst>
</file>

<file path=ppt/theme/theme1.xml><?xml version="1.0" encoding="utf-8"?>
<a:theme xmlns:a="http://schemas.openxmlformats.org/drawingml/2006/main" name="VEDP - Q2 2020">
  <a:themeElements>
    <a:clrScheme name="VEDP 2019 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3865"/>
      </a:accent1>
      <a:accent2>
        <a:srgbClr val="007DBA"/>
      </a:accent2>
      <a:accent3>
        <a:srgbClr val="C3C3C3"/>
      </a:accent3>
      <a:accent4>
        <a:srgbClr val="707371"/>
      </a:accent4>
      <a:accent5>
        <a:srgbClr val="FFB900"/>
      </a:accent5>
      <a:accent6>
        <a:srgbClr val="F17916"/>
      </a:accent6>
      <a:hlink>
        <a:srgbClr val="003865"/>
      </a:hlink>
      <a:folHlink>
        <a:srgbClr val="003865"/>
      </a:folHlink>
    </a:clrScheme>
    <a:fontScheme name="Arial">
      <a:majorFont>
        <a:latin typeface="Arial Bold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0" tIns="0" rIns="0" bIns="0" rtlCol="0" anchor="t">
        <a:spAutoFit/>
      </a:bodyPr>
      <a:lstStyle>
        <a:defPPr algn="l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custClrLst>
    <a:custClr name="#428249">
      <a:srgbClr val="428249"/>
    </a:custClr>
    <a:custClr name="#6FA775">
      <a:srgbClr val="6FA775"/>
    </a:custClr>
    <a:custClr name="#9CCCA2">
      <a:srgbClr val="9CCCA2"/>
    </a:custClr>
    <a:custClr name="#EE9286">
      <a:srgbClr val="EE9286"/>
    </a:custClr>
    <a:custClr name="#D15F4F">
      <a:srgbClr val="D15F4F"/>
    </a:custClr>
    <a:custClr name="#B52C19">
      <a:srgbClr val="B52C19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#D9E9F7">
      <a:srgbClr val="D9E9F7"/>
    </a:custClr>
    <a:custClr name="#97CAED">
      <a:srgbClr val="97CAED"/>
    </a:custClr>
    <a:custClr name="#0C9ED9">
      <a:srgbClr val="0C9ED9"/>
    </a:custClr>
    <a:custClr name="#0070B4">
      <a:srgbClr val="0070B4"/>
    </a:custClr>
    <a:custClr name="#00508C">
      <a:srgbClr val="00508C"/>
    </a:custClr>
    <a:custClr name="#003865">
      <a:srgbClr val="003865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Presentation7" id="{D1EBE404-D763-2241-8E5B-2E46AF4E36D9}" vid="{5BCD4809-82D3-0E42-A471-A822F4ACE2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F420CFC25342468B625C868F00C447" ma:contentTypeVersion="12" ma:contentTypeDescription="Create a new document." ma:contentTypeScope="" ma:versionID="d8b926ad194a2108c686c1b82abde0c1">
  <xsd:schema xmlns:xsd="http://www.w3.org/2001/XMLSchema" xmlns:xs="http://www.w3.org/2001/XMLSchema" xmlns:p="http://schemas.microsoft.com/office/2006/metadata/properties" xmlns:ns2="c3461887-45b7-46c4-948b-7a5b0ac7d0a9" xmlns:ns3="4e6c2383-b53d-41b7-9776-0e32d66c77e2" targetNamespace="http://schemas.microsoft.com/office/2006/metadata/properties" ma:root="true" ma:fieldsID="9ccf4fdd61183f9e1199f1bf68cdb261" ns2:_="" ns3:_="">
    <xsd:import namespace="c3461887-45b7-46c4-948b-7a5b0ac7d0a9"/>
    <xsd:import namespace="4e6c2383-b53d-41b7-9776-0e32d66c77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461887-45b7-46c4-948b-7a5b0ac7d0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6c2383-b53d-41b7-9776-0e32d66c77e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9850A0A-4EDB-4E41-9724-D1A4C1A07175}"/>
</file>

<file path=customXml/itemProps2.xml><?xml version="1.0" encoding="utf-8"?>
<ds:datastoreItem xmlns:ds="http://schemas.openxmlformats.org/officeDocument/2006/customXml" ds:itemID="{92C47457-E716-4EBB-BA4E-150CBA8A95C5}"/>
</file>

<file path=customXml/itemProps3.xml><?xml version="1.0" encoding="utf-8"?>
<ds:datastoreItem xmlns:ds="http://schemas.openxmlformats.org/officeDocument/2006/customXml" ds:itemID="{31D8C2C0-5234-466A-8900-46DD71A77632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9</TotalTime>
  <Words>953</Words>
  <Application>Microsoft Office PowerPoint</Application>
  <PresentationFormat>On-screen Show (4:3)</PresentationFormat>
  <Paragraphs>10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Bold</vt:lpstr>
      <vt:lpstr>Calibri</vt:lpstr>
      <vt:lpstr>System Font Regular</vt:lpstr>
      <vt:lpstr>Wingdings</vt:lpstr>
      <vt:lpstr>VEDP - Q2 2020</vt:lpstr>
      <vt:lpstr>think-cell Slide</vt:lpstr>
      <vt:lpstr>Economic development update to vml</vt:lpstr>
      <vt:lpstr>Unprecedented economic impact of covid-19 could leave many Virginians out of work for several years</vt:lpstr>
      <vt:lpstr>The Commonwealth’s Strategic Economic opportunities for the future is designed around four big opportunities</vt:lpstr>
      <vt:lpstr>PowerPoint Presentation</vt:lpstr>
      <vt:lpstr>VEDP OPERATIONAL BUDGET initiatives</vt:lpstr>
      <vt:lpstr>Other initiatives</vt:lpstr>
      <vt:lpstr>Local government re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tential legislative and budget proposals for 2021</dc:title>
  <dc:creator>Barker, Lindsay</dc:creator>
  <cp:lastModifiedBy>Morton, Christy</cp:lastModifiedBy>
  <cp:revision>21</cp:revision>
  <dcterms:created xsi:type="dcterms:W3CDTF">2020-07-27T16:09:43Z</dcterms:created>
  <dcterms:modified xsi:type="dcterms:W3CDTF">2020-07-30T14:2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F420CFC25342468B625C868F00C447</vt:lpwstr>
  </property>
</Properties>
</file>